
<file path=[Content_Types].xml><?xml version="1.0" encoding="utf-8"?>
<Types xmlns="http://schemas.openxmlformats.org/package/2006/content-types">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xml" ContentType="application/vnd.openxmlformats-officedocument.presentationml.tags+xml"/>
  <Override PartName="/ppt/notesSlides/notesSlide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0.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1.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9.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0.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21.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2.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5"/>
    <p:sldMasterId id="2147484229" r:id="rId6"/>
    <p:sldMasterId id="2147484308" r:id="rId7"/>
    <p:sldMasterId id="2147484343" r:id="rId8"/>
    <p:sldMasterId id="2147484349" r:id="rId9"/>
  </p:sldMasterIdLst>
  <p:notesMasterIdLst>
    <p:notesMasterId r:id="rId41"/>
  </p:notesMasterIdLst>
  <p:handoutMasterIdLst>
    <p:handoutMasterId r:id="rId42"/>
  </p:handoutMasterIdLst>
  <p:sldIdLst>
    <p:sldId id="1348" r:id="rId10"/>
    <p:sldId id="1349" r:id="rId11"/>
    <p:sldId id="1330" r:id="rId12"/>
    <p:sldId id="1336" r:id="rId13"/>
    <p:sldId id="1337" r:id="rId14"/>
    <p:sldId id="1358" r:id="rId15"/>
    <p:sldId id="1356" r:id="rId16"/>
    <p:sldId id="1359" r:id="rId17"/>
    <p:sldId id="324" r:id="rId18"/>
    <p:sldId id="425" r:id="rId19"/>
    <p:sldId id="346" r:id="rId20"/>
    <p:sldId id="332" r:id="rId21"/>
    <p:sldId id="1369" r:id="rId22"/>
    <p:sldId id="1357" r:id="rId23"/>
    <p:sldId id="347" r:id="rId24"/>
    <p:sldId id="1374" r:id="rId25"/>
    <p:sldId id="1338" r:id="rId26"/>
    <p:sldId id="1370" r:id="rId27"/>
    <p:sldId id="1371" r:id="rId28"/>
    <p:sldId id="1373" r:id="rId29"/>
    <p:sldId id="428" r:id="rId30"/>
    <p:sldId id="426" r:id="rId31"/>
    <p:sldId id="349" r:id="rId32"/>
    <p:sldId id="1362" r:id="rId33"/>
    <p:sldId id="434" r:id="rId34"/>
    <p:sldId id="343" r:id="rId35"/>
    <p:sldId id="1368" r:id="rId36"/>
    <p:sldId id="435" r:id="rId37"/>
    <p:sldId id="348" r:id="rId38"/>
    <p:sldId id="1372" r:id="rId39"/>
    <p:sldId id="1326" r:id="rId4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re Template" id="{0C8682EF-709C-4DD2-B11B-19E2D910C2A9}">
          <p14:sldIdLst>
            <p14:sldId id="1348"/>
            <p14:sldId id="1349"/>
            <p14:sldId id="1330"/>
            <p14:sldId id="1336"/>
            <p14:sldId id="1337"/>
            <p14:sldId id="1358"/>
            <p14:sldId id="1356"/>
            <p14:sldId id="1359"/>
            <p14:sldId id="324"/>
            <p14:sldId id="425"/>
            <p14:sldId id="346"/>
            <p14:sldId id="332"/>
            <p14:sldId id="1369"/>
            <p14:sldId id="1357"/>
            <p14:sldId id="347"/>
            <p14:sldId id="1374"/>
            <p14:sldId id="1338"/>
            <p14:sldId id="1370"/>
            <p14:sldId id="1371"/>
            <p14:sldId id="1373"/>
            <p14:sldId id="428"/>
            <p14:sldId id="426"/>
            <p14:sldId id="349"/>
            <p14:sldId id="1362"/>
            <p14:sldId id="434"/>
            <p14:sldId id="343"/>
            <p14:sldId id="1368"/>
            <p14:sldId id="435"/>
            <p14:sldId id="348"/>
            <p14:sldId id="1372"/>
            <p14:sldId id="132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Lakshmy Nair" initials="LN" lastIdx="2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7C10"/>
    <a:srgbClr val="0078D7"/>
    <a:srgbClr val="00C2F9"/>
    <a:srgbClr val="000000"/>
    <a:srgbClr val="002050"/>
    <a:srgbClr val="00188F"/>
    <a:srgbClr val="A80000"/>
    <a:srgbClr val="D83B01"/>
    <a:srgbClr val="0072C6"/>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D52EBF0-4055-43AB-BF3D-75D6E6A235B6}" v="25" dt="2019-10-28T14:26:41.004"/>
  </p1510:revLst>
</p1510:revInfo>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108" autoAdjust="0"/>
    <p:restoredTop sz="72166" autoAdjust="0"/>
  </p:normalViewPr>
  <p:slideViewPr>
    <p:cSldViewPr>
      <p:cViewPr varScale="1">
        <p:scale>
          <a:sx n="60" d="100"/>
          <a:sy n="60" d="100"/>
        </p:scale>
        <p:origin x="1224" y="58"/>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p:scale>
          <a:sx n="70" d="100"/>
          <a:sy n="70" d="100"/>
        </p:scale>
        <p:origin x="-4086" y="-54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heme" Target="theme/theme1.xml"/><Relationship Id="rId20" Type="http://schemas.openxmlformats.org/officeDocument/2006/relationships/slide" Target="slides/slide11.xml"/><Relationship Id="rId41" Type="http://schemas.openxmlformats.org/officeDocument/2006/relationships/notesMaster" Target="notesMasters/notesMaster1.xml"/></Relationships>
</file>

<file path=ppt/diagrams/_rels/data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4" Type="http://schemas.openxmlformats.org/officeDocument/2006/relationships/image" Target="../media/image27.svg"/></Relationships>
</file>

<file path=ppt/diagrams/_rels/data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svg"/><Relationship Id="rId1" Type="http://schemas.openxmlformats.org/officeDocument/2006/relationships/image" Target="../media/image28.png"/><Relationship Id="rId4" Type="http://schemas.openxmlformats.org/officeDocument/2006/relationships/image" Target="../media/image31.svg"/></Relationships>
</file>

<file path=ppt/diagrams/_rels/data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svg"/><Relationship Id="rId1" Type="http://schemas.openxmlformats.org/officeDocument/2006/relationships/image" Target="../media/image34.png"/><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diagrams/_rels/data16.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41.svg"/><Relationship Id="rId1" Type="http://schemas.openxmlformats.org/officeDocument/2006/relationships/image" Target="../media/image40.png"/><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diagrams/_rels/data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50.png"/><Relationship Id="rId7" Type="http://schemas.openxmlformats.org/officeDocument/2006/relationships/image" Target="../media/image40.png"/><Relationship Id="rId2" Type="http://schemas.openxmlformats.org/officeDocument/2006/relationships/image" Target="../media/image49.svg"/><Relationship Id="rId1" Type="http://schemas.openxmlformats.org/officeDocument/2006/relationships/image" Target="../media/image48.png"/><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svg"/></Relationships>
</file>

<file path=ppt/diagrams/_rels/data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diagrams/_rels/drawing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4" Type="http://schemas.openxmlformats.org/officeDocument/2006/relationships/image" Target="../media/image27.svg"/></Relationships>
</file>

<file path=ppt/diagrams/_rels/drawing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svg"/><Relationship Id="rId1" Type="http://schemas.openxmlformats.org/officeDocument/2006/relationships/image" Target="../media/image28.png"/><Relationship Id="rId4" Type="http://schemas.openxmlformats.org/officeDocument/2006/relationships/image" Target="../media/image31.svg"/></Relationships>
</file>

<file path=ppt/diagrams/_rels/drawing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svg"/><Relationship Id="rId1" Type="http://schemas.openxmlformats.org/officeDocument/2006/relationships/image" Target="../media/image34.png"/><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diagrams/_rels/drawing16.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41.svg"/><Relationship Id="rId1" Type="http://schemas.openxmlformats.org/officeDocument/2006/relationships/image" Target="../media/image40.png"/><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diagrams/_rels/drawing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50.png"/><Relationship Id="rId7" Type="http://schemas.openxmlformats.org/officeDocument/2006/relationships/image" Target="../media/image40.png"/><Relationship Id="rId2" Type="http://schemas.openxmlformats.org/officeDocument/2006/relationships/image" Target="../media/image49.svg"/><Relationship Id="rId1" Type="http://schemas.openxmlformats.org/officeDocument/2006/relationships/image" Target="../media/image48.png"/><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svg"/></Relationships>
</file>

<file path=ppt/diagrams/_rels/drawing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B9921D-D998-460F-928C-C9C46A2A1E85}" type="doc">
      <dgm:prSet loTypeId="urn:microsoft.com/office/officeart/2005/8/layout/default" loCatId="list" qsTypeId="urn:microsoft.com/office/officeart/2005/8/quickstyle/simple1" qsCatId="simple" csTypeId="urn:microsoft.com/office/officeart/2005/8/colors/colorful2" csCatId="colorful"/>
      <dgm:spPr/>
      <dgm:t>
        <a:bodyPr/>
        <a:lstStyle/>
        <a:p>
          <a:endParaRPr lang="en-US"/>
        </a:p>
      </dgm:t>
    </dgm:pt>
    <dgm:pt modelId="{292DF78C-C173-4952-B18F-6ADC91DBBB6E}">
      <dgm:prSet/>
      <dgm:spPr/>
      <dgm:t>
        <a:bodyPr/>
        <a:lstStyle/>
        <a:p>
          <a:r>
            <a:rPr lang="en-US"/>
            <a:t>Reversible obfuscation of data</a:t>
          </a:r>
        </a:p>
      </dgm:t>
    </dgm:pt>
    <dgm:pt modelId="{3477E4FD-CAF8-45CC-9D23-098FC5D560F0}" type="parTrans" cxnId="{A0251212-7FE3-4759-AF9A-7C31B56DBBFD}">
      <dgm:prSet/>
      <dgm:spPr/>
      <dgm:t>
        <a:bodyPr/>
        <a:lstStyle/>
        <a:p>
          <a:endParaRPr lang="en-US"/>
        </a:p>
      </dgm:t>
    </dgm:pt>
    <dgm:pt modelId="{48F55978-725B-4979-9421-9C9C6696BAB5}" type="sibTrans" cxnId="{A0251212-7FE3-4759-AF9A-7C31B56DBBFD}">
      <dgm:prSet/>
      <dgm:spPr/>
      <dgm:t>
        <a:bodyPr/>
        <a:lstStyle/>
        <a:p>
          <a:endParaRPr lang="en-US"/>
        </a:p>
      </dgm:t>
    </dgm:pt>
    <dgm:pt modelId="{122A5FC1-A2B7-4E41-870A-56C98B0212F4}">
      <dgm:prSet/>
      <dgm:spPr/>
      <dgm:t>
        <a:bodyPr/>
        <a:lstStyle/>
        <a:p>
          <a:r>
            <a:rPr lang="en-US"/>
            <a:t>Reversal depends on a key</a:t>
          </a:r>
        </a:p>
      </dgm:t>
    </dgm:pt>
    <dgm:pt modelId="{50055460-8448-4384-850C-D6DF03D01B2F}" type="parTrans" cxnId="{533F26DC-CFE1-4BBC-A615-885195200235}">
      <dgm:prSet/>
      <dgm:spPr/>
      <dgm:t>
        <a:bodyPr/>
        <a:lstStyle/>
        <a:p>
          <a:endParaRPr lang="en-US"/>
        </a:p>
      </dgm:t>
    </dgm:pt>
    <dgm:pt modelId="{E5266A20-5CCF-492D-93E2-FDFC1182BC3A}" type="sibTrans" cxnId="{533F26DC-CFE1-4BBC-A615-885195200235}">
      <dgm:prSet/>
      <dgm:spPr/>
      <dgm:t>
        <a:bodyPr/>
        <a:lstStyle/>
        <a:p>
          <a:endParaRPr lang="en-US"/>
        </a:p>
      </dgm:t>
    </dgm:pt>
    <dgm:pt modelId="{741377E0-1FD3-4983-BFE0-B83DDE2A5C10}">
      <dgm:prSet/>
      <dgm:spPr/>
      <dgm:t>
        <a:bodyPr/>
        <a:lstStyle/>
        <a:p>
          <a:r>
            <a:rPr lang="en-US"/>
            <a:t>Plaintext is encrypted using an encryption algorithm to generate ciphertext</a:t>
          </a:r>
        </a:p>
      </dgm:t>
    </dgm:pt>
    <dgm:pt modelId="{B292E930-7BB6-4611-8CCC-2B4EB728751F}" type="parTrans" cxnId="{14BEC989-A7AF-48B5-9658-B85540286048}">
      <dgm:prSet/>
      <dgm:spPr/>
      <dgm:t>
        <a:bodyPr/>
        <a:lstStyle/>
        <a:p>
          <a:endParaRPr lang="en-US"/>
        </a:p>
      </dgm:t>
    </dgm:pt>
    <dgm:pt modelId="{0B88B264-A3E4-433F-9573-804E8E672434}" type="sibTrans" cxnId="{14BEC989-A7AF-48B5-9658-B85540286048}">
      <dgm:prSet/>
      <dgm:spPr/>
      <dgm:t>
        <a:bodyPr/>
        <a:lstStyle/>
        <a:p>
          <a:endParaRPr lang="en-US"/>
        </a:p>
      </dgm:t>
    </dgm:pt>
    <dgm:pt modelId="{CC61B24F-B4F5-4C1C-BB2B-E3868E95FA05}">
      <dgm:prSet/>
      <dgm:spPr/>
      <dgm:t>
        <a:bodyPr/>
        <a:lstStyle/>
        <a:p>
          <a:r>
            <a:rPr lang="en-US"/>
            <a:t>Only part of an overall security plan</a:t>
          </a:r>
        </a:p>
      </dgm:t>
    </dgm:pt>
    <dgm:pt modelId="{6C19ED22-9EC0-43A0-929C-000B3D772D5D}" type="parTrans" cxnId="{78854225-BBB5-4167-B8C4-EA1E534849D5}">
      <dgm:prSet/>
      <dgm:spPr/>
      <dgm:t>
        <a:bodyPr/>
        <a:lstStyle/>
        <a:p>
          <a:endParaRPr lang="en-US"/>
        </a:p>
      </dgm:t>
    </dgm:pt>
    <dgm:pt modelId="{B4AD15F8-B585-42F1-9510-A2B6B0E5831E}" type="sibTrans" cxnId="{78854225-BBB5-4167-B8C4-EA1E534849D5}">
      <dgm:prSet/>
      <dgm:spPr/>
      <dgm:t>
        <a:bodyPr/>
        <a:lstStyle/>
        <a:p>
          <a:endParaRPr lang="en-US"/>
        </a:p>
      </dgm:t>
    </dgm:pt>
    <dgm:pt modelId="{A5E6C9ED-C7B5-4D59-B909-28C93FE2D510}" type="pres">
      <dgm:prSet presAssocID="{24B9921D-D998-460F-928C-C9C46A2A1E85}" presName="diagram" presStyleCnt="0">
        <dgm:presLayoutVars>
          <dgm:dir/>
          <dgm:resizeHandles val="exact"/>
        </dgm:presLayoutVars>
      </dgm:prSet>
      <dgm:spPr/>
    </dgm:pt>
    <dgm:pt modelId="{FC6F305C-11A1-4B73-B3D3-7ECCC41A69C2}" type="pres">
      <dgm:prSet presAssocID="{292DF78C-C173-4952-B18F-6ADC91DBBB6E}" presName="node" presStyleLbl="node1" presStyleIdx="0" presStyleCnt="4">
        <dgm:presLayoutVars>
          <dgm:bulletEnabled val="1"/>
        </dgm:presLayoutVars>
      </dgm:prSet>
      <dgm:spPr/>
    </dgm:pt>
    <dgm:pt modelId="{D25F1450-5B93-4827-B12E-AD9498F36485}" type="pres">
      <dgm:prSet presAssocID="{48F55978-725B-4979-9421-9C9C6696BAB5}" presName="sibTrans" presStyleCnt="0"/>
      <dgm:spPr/>
    </dgm:pt>
    <dgm:pt modelId="{779218CC-57E0-48DC-B35D-596C557C3C2C}" type="pres">
      <dgm:prSet presAssocID="{122A5FC1-A2B7-4E41-870A-56C98B0212F4}" presName="node" presStyleLbl="node1" presStyleIdx="1" presStyleCnt="4">
        <dgm:presLayoutVars>
          <dgm:bulletEnabled val="1"/>
        </dgm:presLayoutVars>
      </dgm:prSet>
      <dgm:spPr/>
    </dgm:pt>
    <dgm:pt modelId="{46628138-44E6-4E6F-B057-961BE690F049}" type="pres">
      <dgm:prSet presAssocID="{E5266A20-5CCF-492D-93E2-FDFC1182BC3A}" presName="sibTrans" presStyleCnt="0"/>
      <dgm:spPr/>
    </dgm:pt>
    <dgm:pt modelId="{69AE3E3C-D9B7-487E-8390-D385CF44AC03}" type="pres">
      <dgm:prSet presAssocID="{741377E0-1FD3-4983-BFE0-B83DDE2A5C10}" presName="node" presStyleLbl="node1" presStyleIdx="2" presStyleCnt="4">
        <dgm:presLayoutVars>
          <dgm:bulletEnabled val="1"/>
        </dgm:presLayoutVars>
      </dgm:prSet>
      <dgm:spPr/>
    </dgm:pt>
    <dgm:pt modelId="{495205C1-E351-439F-9474-7D28863405A2}" type="pres">
      <dgm:prSet presAssocID="{0B88B264-A3E4-433F-9573-804E8E672434}" presName="sibTrans" presStyleCnt="0"/>
      <dgm:spPr/>
    </dgm:pt>
    <dgm:pt modelId="{7A7E7ACF-3C70-4723-92C7-997B24E85407}" type="pres">
      <dgm:prSet presAssocID="{CC61B24F-B4F5-4C1C-BB2B-E3868E95FA05}" presName="node" presStyleLbl="node1" presStyleIdx="3" presStyleCnt="4">
        <dgm:presLayoutVars>
          <dgm:bulletEnabled val="1"/>
        </dgm:presLayoutVars>
      </dgm:prSet>
      <dgm:spPr/>
    </dgm:pt>
  </dgm:ptLst>
  <dgm:cxnLst>
    <dgm:cxn modelId="{BE3F7903-8350-4D98-B5F5-74C27531EF4B}" type="presOf" srcId="{122A5FC1-A2B7-4E41-870A-56C98B0212F4}" destId="{779218CC-57E0-48DC-B35D-596C557C3C2C}" srcOrd="0" destOrd="0" presId="urn:microsoft.com/office/officeart/2005/8/layout/default"/>
    <dgm:cxn modelId="{A0251212-7FE3-4759-AF9A-7C31B56DBBFD}" srcId="{24B9921D-D998-460F-928C-C9C46A2A1E85}" destId="{292DF78C-C173-4952-B18F-6ADC91DBBB6E}" srcOrd="0" destOrd="0" parTransId="{3477E4FD-CAF8-45CC-9D23-098FC5D560F0}" sibTransId="{48F55978-725B-4979-9421-9C9C6696BAB5}"/>
    <dgm:cxn modelId="{78854225-BBB5-4167-B8C4-EA1E534849D5}" srcId="{24B9921D-D998-460F-928C-C9C46A2A1E85}" destId="{CC61B24F-B4F5-4C1C-BB2B-E3868E95FA05}" srcOrd="3" destOrd="0" parTransId="{6C19ED22-9EC0-43A0-929C-000B3D772D5D}" sibTransId="{B4AD15F8-B585-42F1-9510-A2B6B0E5831E}"/>
    <dgm:cxn modelId="{FF892E89-B6FA-4504-BD74-80F0769C7FC3}" type="presOf" srcId="{CC61B24F-B4F5-4C1C-BB2B-E3868E95FA05}" destId="{7A7E7ACF-3C70-4723-92C7-997B24E85407}" srcOrd="0" destOrd="0" presId="urn:microsoft.com/office/officeart/2005/8/layout/default"/>
    <dgm:cxn modelId="{14BEC989-A7AF-48B5-9658-B85540286048}" srcId="{24B9921D-D998-460F-928C-C9C46A2A1E85}" destId="{741377E0-1FD3-4983-BFE0-B83DDE2A5C10}" srcOrd="2" destOrd="0" parTransId="{B292E930-7BB6-4611-8CCC-2B4EB728751F}" sibTransId="{0B88B264-A3E4-433F-9573-804E8E672434}"/>
    <dgm:cxn modelId="{61B738BA-BB43-4574-8FE8-4088ACB6E955}" type="presOf" srcId="{292DF78C-C173-4952-B18F-6ADC91DBBB6E}" destId="{FC6F305C-11A1-4B73-B3D3-7ECCC41A69C2}" srcOrd="0" destOrd="0" presId="urn:microsoft.com/office/officeart/2005/8/layout/default"/>
    <dgm:cxn modelId="{D1C9DAC9-95BF-4BB3-8EDA-E44D3A0D441B}" type="presOf" srcId="{741377E0-1FD3-4983-BFE0-B83DDE2A5C10}" destId="{69AE3E3C-D9B7-487E-8390-D385CF44AC03}" srcOrd="0" destOrd="0" presId="urn:microsoft.com/office/officeart/2005/8/layout/default"/>
    <dgm:cxn modelId="{533F26DC-CFE1-4BBC-A615-885195200235}" srcId="{24B9921D-D998-460F-928C-C9C46A2A1E85}" destId="{122A5FC1-A2B7-4E41-870A-56C98B0212F4}" srcOrd="1" destOrd="0" parTransId="{50055460-8448-4384-850C-D6DF03D01B2F}" sibTransId="{E5266A20-5CCF-492D-93E2-FDFC1182BC3A}"/>
    <dgm:cxn modelId="{2C0B9FF8-25F3-40CD-B9F3-175368120BD5}" type="presOf" srcId="{24B9921D-D998-460F-928C-C9C46A2A1E85}" destId="{A5E6C9ED-C7B5-4D59-B909-28C93FE2D510}" srcOrd="0" destOrd="0" presId="urn:microsoft.com/office/officeart/2005/8/layout/default"/>
    <dgm:cxn modelId="{A3D5F580-2F2F-47B8-A910-5C27C5A55B94}" type="presParOf" srcId="{A5E6C9ED-C7B5-4D59-B909-28C93FE2D510}" destId="{FC6F305C-11A1-4B73-B3D3-7ECCC41A69C2}" srcOrd="0" destOrd="0" presId="urn:microsoft.com/office/officeart/2005/8/layout/default"/>
    <dgm:cxn modelId="{0BF4196A-F303-44EA-AAFE-F6E7AF56C3DD}" type="presParOf" srcId="{A5E6C9ED-C7B5-4D59-B909-28C93FE2D510}" destId="{D25F1450-5B93-4827-B12E-AD9498F36485}" srcOrd="1" destOrd="0" presId="urn:microsoft.com/office/officeart/2005/8/layout/default"/>
    <dgm:cxn modelId="{AE26358A-C0D9-4519-B62D-15137B65DC6D}" type="presParOf" srcId="{A5E6C9ED-C7B5-4D59-B909-28C93FE2D510}" destId="{779218CC-57E0-48DC-B35D-596C557C3C2C}" srcOrd="2" destOrd="0" presId="urn:microsoft.com/office/officeart/2005/8/layout/default"/>
    <dgm:cxn modelId="{28EA128C-CD3F-4AC1-BB3E-38006443018F}" type="presParOf" srcId="{A5E6C9ED-C7B5-4D59-B909-28C93FE2D510}" destId="{46628138-44E6-4E6F-B057-961BE690F049}" srcOrd="3" destOrd="0" presId="urn:microsoft.com/office/officeart/2005/8/layout/default"/>
    <dgm:cxn modelId="{BCC4BD92-E368-452D-ABB5-D2C2718774D1}" type="presParOf" srcId="{A5E6C9ED-C7B5-4D59-B909-28C93FE2D510}" destId="{69AE3E3C-D9B7-487E-8390-D385CF44AC03}" srcOrd="4" destOrd="0" presId="urn:microsoft.com/office/officeart/2005/8/layout/default"/>
    <dgm:cxn modelId="{31A6DBCA-6DFE-4FC0-9B7F-3F01CC5EF037}" type="presParOf" srcId="{A5E6C9ED-C7B5-4D59-B909-28C93FE2D510}" destId="{495205C1-E351-439F-9474-7D28863405A2}" srcOrd="5" destOrd="0" presId="urn:microsoft.com/office/officeart/2005/8/layout/default"/>
    <dgm:cxn modelId="{101E419D-3814-4E0D-BD88-686895EA0B00}" type="presParOf" srcId="{A5E6C9ED-C7B5-4D59-B909-28C93FE2D510}" destId="{7A7E7ACF-3C70-4723-92C7-997B24E85407}"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01E6CD0-8940-473B-B1B7-1B20ED0FA676}"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E316897D-4CDD-46DD-87DD-96FE064DAA28}">
      <dgm:prSet/>
      <dgm:spPr/>
      <dgm:t>
        <a:bodyPr/>
        <a:lstStyle/>
        <a:p>
          <a:pPr>
            <a:lnSpc>
              <a:spcPct val="100000"/>
            </a:lnSpc>
          </a:pPr>
          <a:r>
            <a:rPr lang="en-US" baseline="0" dirty="0"/>
            <a:t>CMK – Column Master Key is used to encrypt other keys, always in client’s control, and in an external key store</a:t>
          </a:r>
          <a:endParaRPr lang="en-US" dirty="0"/>
        </a:p>
      </dgm:t>
    </dgm:pt>
    <dgm:pt modelId="{21A7A801-F23D-4563-B17A-1EE1A67C5AC6}" type="parTrans" cxnId="{637D97F2-2EFF-4C58-979B-421EC2654671}">
      <dgm:prSet/>
      <dgm:spPr/>
      <dgm:t>
        <a:bodyPr/>
        <a:lstStyle/>
        <a:p>
          <a:endParaRPr lang="en-US"/>
        </a:p>
      </dgm:t>
    </dgm:pt>
    <dgm:pt modelId="{59EFB784-A255-4B3D-A072-EE89CCC0F521}" type="sibTrans" cxnId="{637D97F2-2EFF-4C58-979B-421EC2654671}">
      <dgm:prSet/>
      <dgm:spPr/>
      <dgm:t>
        <a:bodyPr/>
        <a:lstStyle/>
        <a:p>
          <a:endParaRPr lang="en-US"/>
        </a:p>
      </dgm:t>
    </dgm:pt>
    <dgm:pt modelId="{E37D89D8-21D3-45CE-A36C-13691F54053B}">
      <dgm:prSet/>
      <dgm:spPr>
        <a:ln w="28575">
          <a:solidFill>
            <a:schemeClr val="accent3">
              <a:lumMod val="75000"/>
            </a:schemeClr>
          </a:solidFill>
        </a:ln>
      </dgm:spPr>
      <dgm:t>
        <a:bodyPr/>
        <a:lstStyle/>
        <a:p>
          <a:pPr>
            <a:lnSpc>
              <a:spcPct val="100000"/>
            </a:lnSpc>
          </a:pPr>
          <a:r>
            <a:rPr lang="en-US" baseline="0" dirty="0"/>
            <a:t>Azure Key Vault</a:t>
          </a:r>
        </a:p>
        <a:p>
          <a:pPr>
            <a:lnSpc>
              <a:spcPct val="100000"/>
            </a:lnSpc>
          </a:pPr>
          <a:r>
            <a:rPr lang="en-US" baseline="0" dirty="0"/>
            <a:t>Windows Certificate Store</a:t>
          </a:r>
          <a:endParaRPr lang="en-US" dirty="0"/>
        </a:p>
      </dgm:t>
    </dgm:pt>
    <dgm:pt modelId="{75364289-495D-4F35-8E8D-6600A7A14106}" type="parTrans" cxnId="{82D3D9D2-904D-48C5-9447-565300B0EF76}">
      <dgm:prSet/>
      <dgm:spPr/>
      <dgm:t>
        <a:bodyPr/>
        <a:lstStyle/>
        <a:p>
          <a:endParaRPr lang="en-US"/>
        </a:p>
      </dgm:t>
    </dgm:pt>
    <dgm:pt modelId="{48B145AD-68E8-408E-955B-B59EAD5536EC}" type="sibTrans" cxnId="{82D3D9D2-904D-48C5-9447-565300B0EF76}">
      <dgm:prSet/>
      <dgm:spPr/>
      <dgm:t>
        <a:bodyPr/>
        <a:lstStyle/>
        <a:p>
          <a:endParaRPr lang="en-US"/>
        </a:p>
      </dgm:t>
    </dgm:pt>
    <dgm:pt modelId="{6EC0ECAD-F9AB-4A6C-B2DD-A7F9A2710847}">
      <dgm:prSet/>
      <dgm:spPr>
        <a:ln w="28575">
          <a:solidFill>
            <a:schemeClr val="accent3">
              <a:lumMod val="75000"/>
            </a:schemeClr>
          </a:solidFill>
        </a:ln>
      </dgm:spPr>
      <dgm:t>
        <a:bodyPr/>
        <a:lstStyle/>
        <a:p>
          <a:pPr>
            <a:lnSpc>
              <a:spcPct val="100000"/>
            </a:lnSpc>
          </a:pPr>
          <a:r>
            <a:rPr lang="en-US" baseline="0" dirty="0"/>
            <a:t>Hardware Security Sections </a:t>
          </a:r>
          <a:endParaRPr lang="en-US" dirty="0"/>
        </a:p>
      </dgm:t>
    </dgm:pt>
    <dgm:pt modelId="{EEFD24FC-FE15-4C56-BD22-2DEC9F87AC9C}" type="parTrans" cxnId="{BA82F43F-6096-42A5-8E56-8BF4B154A64F}">
      <dgm:prSet/>
      <dgm:spPr/>
      <dgm:t>
        <a:bodyPr/>
        <a:lstStyle/>
        <a:p>
          <a:endParaRPr lang="en-US"/>
        </a:p>
      </dgm:t>
    </dgm:pt>
    <dgm:pt modelId="{37F0D956-5BA8-406E-909F-522520E4293C}" type="sibTrans" cxnId="{BA82F43F-6096-42A5-8E56-8BF4B154A64F}">
      <dgm:prSet/>
      <dgm:spPr/>
      <dgm:t>
        <a:bodyPr/>
        <a:lstStyle/>
        <a:p>
          <a:endParaRPr lang="en-US"/>
        </a:p>
      </dgm:t>
    </dgm:pt>
    <dgm:pt modelId="{662C2115-F0A5-4094-93A1-E13A1E301300}">
      <dgm:prSet/>
      <dgm:spPr/>
      <dgm:t>
        <a:bodyPr/>
        <a:lstStyle/>
        <a:p>
          <a:pPr>
            <a:lnSpc>
              <a:spcPct val="100000"/>
            </a:lnSpc>
          </a:pPr>
          <a:r>
            <a:rPr lang="en-US" baseline="0"/>
            <a:t>CEK – Column Encryption Key is a content encryption key</a:t>
          </a:r>
          <a:endParaRPr lang="en-US"/>
        </a:p>
      </dgm:t>
    </dgm:pt>
    <dgm:pt modelId="{755C5DC5-FADB-4552-BB7A-A0DF3D1FCC0A}" type="parTrans" cxnId="{5590DF1E-18CB-45B9-9372-B4FFBE324143}">
      <dgm:prSet/>
      <dgm:spPr/>
      <dgm:t>
        <a:bodyPr/>
        <a:lstStyle/>
        <a:p>
          <a:endParaRPr lang="en-US"/>
        </a:p>
      </dgm:t>
    </dgm:pt>
    <dgm:pt modelId="{781E0B86-CF8C-412D-B1AF-BA40BB0A5DF1}" type="sibTrans" cxnId="{5590DF1E-18CB-45B9-9372-B4FFBE324143}">
      <dgm:prSet/>
      <dgm:spPr/>
      <dgm:t>
        <a:bodyPr/>
        <a:lstStyle/>
        <a:p>
          <a:endParaRPr lang="en-US"/>
        </a:p>
      </dgm:t>
    </dgm:pt>
    <dgm:pt modelId="{6DFCC512-8FC5-45BF-99E2-6850397BC5D6}" type="pres">
      <dgm:prSet presAssocID="{F01E6CD0-8940-473B-B1B7-1B20ED0FA676}" presName="root" presStyleCnt="0">
        <dgm:presLayoutVars>
          <dgm:dir/>
          <dgm:resizeHandles val="exact"/>
        </dgm:presLayoutVars>
      </dgm:prSet>
      <dgm:spPr/>
    </dgm:pt>
    <dgm:pt modelId="{6D28CDFD-1EA5-4807-85B5-151FBAD533E4}" type="pres">
      <dgm:prSet presAssocID="{E316897D-4CDD-46DD-87DD-96FE064DAA28}" presName="compNode" presStyleCnt="0"/>
      <dgm:spPr/>
    </dgm:pt>
    <dgm:pt modelId="{C64F064C-D75D-431F-AF5F-C212318068FC}" type="pres">
      <dgm:prSet presAssocID="{E316897D-4CDD-46DD-87DD-96FE064DAA28}" presName="bgRect" presStyleLbl="bgShp" presStyleIdx="0" presStyleCnt="2"/>
      <dgm:spPr/>
    </dgm:pt>
    <dgm:pt modelId="{92A99ECB-D415-48A1-A5AC-000E06F26E19}" type="pres">
      <dgm:prSet presAssocID="{E316897D-4CDD-46DD-87DD-96FE064DAA28}"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Key"/>
        </a:ext>
      </dgm:extLst>
    </dgm:pt>
    <dgm:pt modelId="{28E1A568-CD12-49E8-8D33-724D5B4B5B40}" type="pres">
      <dgm:prSet presAssocID="{E316897D-4CDD-46DD-87DD-96FE064DAA28}" presName="spaceRect" presStyleCnt="0"/>
      <dgm:spPr/>
    </dgm:pt>
    <dgm:pt modelId="{2E8C3F74-E1FE-403A-8AE0-36381D5F90A6}" type="pres">
      <dgm:prSet presAssocID="{E316897D-4CDD-46DD-87DD-96FE064DAA28}" presName="parTx" presStyleLbl="revTx" presStyleIdx="0" presStyleCnt="3">
        <dgm:presLayoutVars>
          <dgm:chMax val="0"/>
          <dgm:chPref val="0"/>
        </dgm:presLayoutVars>
      </dgm:prSet>
      <dgm:spPr/>
    </dgm:pt>
    <dgm:pt modelId="{B93A0E3B-9CBD-4978-9C35-A6A680EFC60F}" type="pres">
      <dgm:prSet presAssocID="{E316897D-4CDD-46DD-87DD-96FE064DAA28}" presName="desTx" presStyleLbl="revTx" presStyleIdx="1" presStyleCnt="3">
        <dgm:presLayoutVars/>
      </dgm:prSet>
      <dgm:spPr/>
    </dgm:pt>
    <dgm:pt modelId="{C15321CB-BC3C-4E1B-B642-A4DB391624DF}" type="pres">
      <dgm:prSet presAssocID="{59EFB784-A255-4B3D-A072-EE89CCC0F521}" presName="sibTrans" presStyleCnt="0"/>
      <dgm:spPr/>
    </dgm:pt>
    <dgm:pt modelId="{D2F01634-7789-4432-8E10-E1F9BAAC6203}" type="pres">
      <dgm:prSet presAssocID="{662C2115-F0A5-4094-93A1-E13A1E301300}" presName="compNode" presStyleCnt="0"/>
      <dgm:spPr/>
    </dgm:pt>
    <dgm:pt modelId="{D7A8E28B-4B10-441F-94DC-EEEC3E8A1220}" type="pres">
      <dgm:prSet presAssocID="{662C2115-F0A5-4094-93A1-E13A1E301300}" presName="bgRect" presStyleLbl="bgShp" presStyleIdx="1" presStyleCnt="2"/>
      <dgm:spPr/>
    </dgm:pt>
    <dgm:pt modelId="{B48817B1-3F17-4E3A-8FC9-C119429CBD41}" type="pres">
      <dgm:prSet presAssocID="{662C2115-F0A5-4094-93A1-E13A1E301300}" presName="iconRect" presStyleLbl="node1" presStyleIdx="1" presStyleCnt="2"/>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Key"/>
        </a:ext>
      </dgm:extLst>
    </dgm:pt>
    <dgm:pt modelId="{532C9C86-AF93-4322-876E-E27637D6DC6B}" type="pres">
      <dgm:prSet presAssocID="{662C2115-F0A5-4094-93A1-E13A1E301300}" presName="spaceRect" presStyleCnt="0"/>
      <dgm:spPr/>
    </dgm:pt>
    <dgm:pt modelId="{4B31B38B-81EA-425B-9E82-CBAEBC7DD2A0}" type="pres">
      <dgm:prSet presAssocID="{662C2115-F0A5-4094-93A1-E13A1E301300}" presName="parTx" presStyleLbl="revTx" presStyleIdx="2" presStyleCnt="3">
        <dgm:presLayoutVars>
          <dgm:chMax val="0"/>
          <dgm:chPref val="0"/>
        </dgm:presLayoutVars>
      </dgm:prSet>
      <dgm:spPr/>
    </dgm:pt>
  </dgm:ptLst>
  <dgm:cxnLst>
    <dgm:cxn modelId="{3FCA921E-926D-45BE-877D-A1F1A2C03D0C}" type="presOf" srcId="{6EC0ECAD-F9AB-4A6C-B2DD-A7F9A2710847}" destId="{B93A0E3B-9CBD-4978-9C35-A6A680EFC60F}" srcOrd="0" destOrd="1" presId="urn:microsoft.com/office/officeart/2018/2/layout/IconVerticalSolidList"/>
    <dgm:cxn modelId="{5590DF1E-18CB-45B9-9372-B4FFBE324143}" srcId="{F01E6CD0-8940-473B-B1B7-1B20ED0FA676}" destId="{662C2115-F0A5-4094-93A1-E13A1E301300}" srcOrd="1" destOrd="0" parTransId="{755C5DC5-FADB-4552-BB7A-A0DF3D1FCC0A}" sibTransId="{781E0B86-CF8C-412D-B1AF-BA40BB0A5DF1}"/>
    <dgm:cxn modelId="{BA82F43F-6096-42A5-8E56-8BF4B154A64F}" srcId="{E316897D-4CDD-46DD-87DD-96FE064DAA28}" destId="{6EC0ECAD-F9AB-4A6C-B2DD-A7F9A2710847}" srcOrd="1" destOrd="0" parTransId="{EEFD24FC-FE15-4C56-BD22-2DEC9F87AC9C}" sibTransId="{37F0D956-5BA8-406E-909F-522520E4293C}"/>
    <dgm:cxn modelId="{BB37FD6A-2B22-459C-B8E5-8220455FB702}" type="presOf" srcId="{E316897D-4CDD-46DD-87DD-96FE064DAA28}" destId="{2E8C3F74-E1FE-403A-8AE0-36381D5F90A6}" srcOrd="0" destOrd="0" presId="urn:microsoft.com/office/officeart/2018/2/layout/IconVerticalSolidList"/>
    <dgm:cxn modelId="{654C1C4C-5122-4757-9497-DE8C4BBA427B}" type="presOf" srcId="{662C2115-F0A5-4094-93A1-E13A1E301300}" destId="{4B31B38B-81EA-425B-9E82-CBAEBC7DD2A0}" srcOrd="0" destOrd="0" presId="urn:microsoft.com/office/officeart/2018/2/layout/IconVerticalSolidList"/>
    <dgm:cxn modelId="{AD2926AB-9558-48A8-8CD2-3328078526C6}" type="presOf" srcId="{F01E6CD0-8940-473B-B1B7-1B20ED0FA676}" destId="{6DFCC512-8FC5-45BF-99E2-6850397BC5D6}" srcOrd="0" destOrd="0" presId="urn:microsoft.com/office/officeart/2018/2/layout/IconVerticalSolidList"/>
    <dgm:cxn modelId="{32494FB4-93AA-44E8-AA61-AE765A039766}" type="presOf" srcId="{E37D89D8-21D3-45CE-A36C-13691F54053B}" destId="{B93A0E3B-9CBD-4978-9C35-A6A680EFC60F}" srcOrd="0" destOrd="0" presId="urn:microsoft.com/office/officeart/2018/2/layout/IconVerticalSolidList"/>
    <dgm:cxn modelId="{82D3D9D2-904D-48C5-9447-565300B0EF76}" srcId="{E316897D-4CDD-46DD-87DD-96FE064DAA28}" destId="{E37D89D8-21D3-45CE-A36C-13691F54053B}" srcOrd="0" destOrd="0" parTransId="{75364289-495D-4F35-8E8D-6600A7A14106}" sibTransId="{48B145AD-68E8-408E-955B-B59EAD5536EC}"/>
    <dgm:cxn modelId="{637D97F2-2EFF-4C58-979B-421EC2654671}" srcId="{F01E6CD0-8940-473B-B1B7-1B20ED0FA676}" destId="{E316897D-4CDD-46DD-87DD-96FE064DAA28}" srcOrd="0" destOrd="0" parTransId="{21A7A801-F23D-4563-B17A-1EE1A67C5AC6}" sibTransId="{59EFB784-A255-4B3D-A072-EE89CCC0F521}"/>
    <dgm:cxn modelId="{4C1286EE-84F3-4F09-B2BB-D1FA2FBDBE53}" type="presParOf" srcId="{6DFCC512-8FC5-45BF-99E2-6850397BC5D6}" destId="{6D28CDFD-1EA5-4807-85B5-151FBAD533E4}" srcOrd="0" destOrd="0" presId="urn:microsoft.com/office/officeart/2018/2/layout/IconVerticalSolidList"/>
    <dgm:cxn modelId="{6D576699-F1E6-4B55-9694-CDDF885A8F3D}" type="presParOf" srcId="{6D28CDFD-1EA5-4807-85B5-151FBAD533E4}" destId="{C64F064C-D75D-431F-AF5F-C212318068FC}" srcOrd="0" destOrd="0" presId="urn:microsoft.com/office/officeart/2018/2/layout/IconVerticalSolidList"/>
    <dgm:cxn modelId="{C5E76962-EFE4-4AA3-941D-FC1747C176A4}" type="presParOf" srcId="{6D28CDFD-1EA5-4807-85B5-151FBAD533E4}" destId="{92A99ECB-D415-48A1-A5AC-000E06F26E19}" srcOrd="1" destOrd="0" presId="urn:microsoft.com/office/officeart/2018/2/layout/IconVerticalSolidList"/>
    <dgm:cxn modelId="{FF40DE15-11E1-4537-A8AB-E68B59A89601}" type="presParOf" srcId="{6D28CDFD-1EA5-4807-85B5-151FBAD533E4}" destId="{28E1A568-CD12-49E8-8D33-724D5B4B5B40}" srcOrd="2" destOrd="0" presId="urn:microsoft.com/office/officeart/2018/2/layout/IconVerticalSolidList"/>
    <dgm:cxn modelId="{87065468-C3BF-4430-AF7F-970E775E828A}" type="presParOf" srcId="{6D28CDFD-1EA5-4807-85B5-151FBAD533E4}" destId="{2E8C3F74-E1FE-403A-8AE0-36381D5F90A6}" srcOrd="3" destOrd="0" presId="urn:microsoft.com/office/officeart/2018/2/layout/IconVerticalSolidList"/>
    <dgm:cxn modelId="{4B3F39CC-EC2E-4DCC-95D5-25C4BDE742F3}" type="presParOf" srcId="{6D28CDFD-1EA5-4807-85B5-151FBAD533E4}" destId="{B93A0E3B-9CBD-4978-9C35-A6A680EFC60F}" srcOrd="4" destOrd="0" presId="urn:microsoft.com/office/officeart/2018/2/layout/IconVerticalSolidList"/>
    <dgm:cxn modelId="{B4AC9D59-29F5-472C-AFBC-F85358D637B6}" type="presParOf" srcId="{6DFCC512-8FC5-45BF-99E2-6850397BC5D6}" destId="{C15321CB-BC3C-4E1B-B642-A4DB391624DF}" srcOrd="1" destOrd="0" presId="urn:microsoft.com/office/officeart/2018/2/layout/IconVerticalSolidList"/>
    <dgm:cxn modelId="{C1F52AD5-BCB1-4223-89DB-C44CABB9E352}" type="presParOf" srcId="{6DFCC512-8FC5-45BF-99E2-6850397BC5D6}" destId="{D2F01634-7789-4432-8E10-E1F9BAAC6203}" srcOrd="2" destOrd="0" presId="urn:microsoft.com/office/officeart/2018/2/layout/IconVerticalSolidList"/>
    <dgm:cxn modelId="{DF45B94C-43BC-4971-BD72-E2973E58D5A1}" type="presParOf" srcId="{D2F01634-7789-4432-8E10-E1F9BAAC6203}" destId="{D7A8E28B-4B10-441F-94DC-EEEC3E8A1220}" srcOrd="0" destOrd="0" presId="urn:microsoft.com/office/officeart/2018/2/layout/IconVerticalSolidList"/>
    <dgm:cxn modelId="{0EE2A5CE-6A4F-49FD-B8E1-6DADB719A43C}" type="presParOf" srcId="{D2F01634-7789-4432-8E10-E1F9BAAC6203}" destId="{B48817B1-3F17-4E3A-8FC9-C119429CBD41}" srcOrd="1" destOrd="0" presId="urn:microsoft.com/office/officeart/2018/2/layout/IconVerticalSolidList"/>
    <dgm:cxn modelId="{3CFABD1D-DF41-4263-A105-CB7FADFED436}" type="presParOf" srcId="{D2F01634-7789-4432-8E10-E1F9BAAC6203}" destId="{532C9C86-AF93-4322-876E-E27637D6DC6B}" srcOrd="2" destOrd="0" presId="urn:microsoft.com/office/officeart/2018/2/layout/IconVerticalSolidList"/>
    <dgm:cxn modelId="{5FD5F2F9-B076-46E9-9E82-A96B3B8E8402}" type="presParOf" srcId="{D2F01634-7789-4432-8E10-E1F9BAAC6203}" destId="{4B31B38B-81EA-425B-9E82-CBAEBC7DD2A0}"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9EA4F0B-46D3-4201-B639-A85ABC41BD73}" type="doc">
      <dgm:prSet loTypeId="urn:microsoft.com/office/officeart/2005/8/layout/chevronAccent+Icon" loCatId="process" qsTypeId="urn:microsoft.com/office/officeart/2005/8/quickstyle/simple1" qsCatId="simple" csTypeId="urn:microsoft.com/office/officeart/2005/8/colors/colorful2" csCatId="colorful" phldr="1"/>
      <dgm:spPr/>
      <dgm:t>
        <a:bodyPr/>
        <a:lstStyle/>
        <a:p>
          <a:endParaRPr lang="en-US"/>
        </a:p>
      </dgm:t>
    </dgm:pt>
    <dgm:pt modelId="{8682D599-A1BC-452A-84AB-2618D1504142}">
      <dgm:prSet custT="1"/>
      <dgm:spPr/>
      <dgm:t>
        <a:bodyPr/>
        <a:lstStyle/>
        <a:p>
          <a:r>
            <a:rPr lang="en-US" sz="2400" baseline="0" dirty="0"/>
            <a:t>Generate CEKs and master key</a:t>
          </a:r>
          <a:endParaRPr lang="en-US" sz="2400" dirty="0"/>
        </a:p>
      </dgm:t>
    </dgm:pt>
    <dgm:pt modelId="{DF703811-113C-4444-9AF2-81B2B6DD53FD}" type="parTrans" cxnId="{F0F1437E-9F25-4651-9BC5-43EDBF687ED5}">
      <dgm:prSet/>
      <dgm:spPr/>
      <dgm:t>
        <a:bodyPr/>
        <a:lstStyle/>
        <a:p>
          <a:endParaRPr lang="en-US"/>
        </a:p>
      </dgm:t>
    </dgm:pt>
    <dgm:pt modelId="{35B0260E-ED6A-4394-B4CD-9902780144FF}" type="sibTrans" cxnId="{F0F1437E-9F25-4651-9BC5-43EDBF687ED5}">
      <dgm:prSet/>
      <dgm:spPr/>
      <dgm:t>
        <a:bodyPr/>
        <a:lstStyle/>
        <a:p>
          <a:endParaRPr lang="en-US"/>
        </a:p>
      </dgm:t>
    </dgm:pt>
    <dgm:pt modelId="{8F349396-A8C3-4080-A0DA-C96009C604FD}">
      <dgm:prSet custT="1"/>
      <dgm:spPr/>
      <dgm:t>
        <a:bodyPr/>
        <a:lstStyle/>
        <a:p>
          <a:r>
            <a:rPr lang="en-US" sz="2400" baseline="0"/>
            <a:t>Encrypt CEK</a:t>
          </a:r>
          <a:endParaRPr lang="en-US" sz="2400"/>
        </a:p>
      </dgm:t>
    </dgm:pt>
    <dgm:pt modelId="{E49534C2-29BF-42C5-9032-9F40514BA3B3}" type="parTrans" cxnId="{715165CC-1FB4-421C-912B-57051922609F}">
      <dgm:prSet/>
      <dgm:spPr/>
      <dgm:t>
        <a:bodyPr/>
        <a:lstStyle/>
        <a:p>
          <a:endParaRPr lang="en-US"/>
        </a:p>
      </dgm:t>
    </dgm:pt>
    <dgm:pt modelId="{94C61F0F-5E42-4949-88E2-16B41EC04771}" type="sibTrans" cxnId="{715165CC-1FB4-421C-912B-57051922609F}">
      <dgm:prSet/>
      <dgm:spPr/>
      <dgm:t>
        <a:bodyPr/>
        <a:lstStyle/>
        <a:p>
          <a:endParaRPr lang="en-US"/>
        </a:p>
      </dgm:t>
    </dgm:pt>
    <dgm:pt modelId="{B4C26C58-C3D0-4C65-8EFF-853A73FCFEC2}">
      <dgm:prSet custT="1"/>
      <dgm:spPr/>
      <dgm:t>
        <a:bodyPr/>
        <a:lstStyle/>
        <a:p>
          <a:r>
            <a:rPr lang="en-US" sz="2400" baseline="0"/>
            <a:t>Store master key securely</a:t>
          </a:r>
          <a:endParaRPr lang="en-US" sz="2400"/>
        </a:p>
      </dgm:t>
    </dgm:pt>
    <dgm:pt modelId="{5951E394-B4DE-4746-BB75-DB8F5ACD33B5}" type="parTrans" cxnId="{0A7F20BE-828A-456D-9EBC-4ABC4A30654D}">
      <dgm:prSet/>
      <dgm:spPr/>
      <dgm:t>
        <a:bodyPr/>
        <a:lstStyle/>
        <a:p>
          <a:endParaRPr lang="en-US"/>
        </a:p>
      </dgm:t>
    </dgm:pt>
    <dgm:pt modelId="{85CA90B1-F124-4F5A-8FA3-B581DE6DC355}" type="sibTrans" cxnId="{0A7F20BE-828A-456D-9EBC-4ABC4A30654D}">
      <dgm:prSet/>
      <dgm:spPr/>
      <dgm:t>
        <a:bodyPr/>
        <a:lstStyle/>
        <a:p>
          <a:endParaRPr lang="en-US"/>
        </a:p>
      </dgm:t>
    </dgm:pt>
    <dgm:pt modelId="{7A641774-4A66-4AB0-AA7C-CDB949B9DF00}">
      <dgm:prSet custT="1"/>
      <dgm:spPr/>
      <dgm:t>
        <a:bodyPr/>
        <a:lstStyle/>
        <a:p>
          <a:r>
            <a:rPr lang="en-US" sz="2400" baseline="0"/>
            <a:t>Upload encrypted CEK to DB</a:t>
          </a:r>
          <a:endParaRPr lang="en-US" sz="2400"/>
        </a:p>
      </dgm:t>
    </dgm:pt>
    <dgm:pt modelId="{A791EB7C-61F8-48A1-B814-C243ACC6BE75}" type="parTrans" cxnId="{73C2DD1A-908D-4FC0-9A5D-17C6745C60E4}">
      <dgm:prSet/>
      <dgm:spPr/>
      <dgm:t>
        <a:bodyPr/>
        <a:lstStyle/>
        <a:p>
          <a:endParaRPr lang="en-US"/>
        </a:p>
      </dgm:t>
    </dgm:pt>
    <dgm:pt modelId="{2BA5B5AF-4E97-4833-916A-B3F5DA695237}" type="sibTrans" cxnId="{73C2DD1A-908D-4FC0-9A5D-17C6745C60E4}">
      <dgm:prSet/>
      <dgm:spPr/>
      <dgm:t>
        <a:bodyPr/>
        <a:lstStyle/>
        <a:p>
          <a:endParaRPr lang="en-US"/>
        </a:p>
      </dgm:t>
    </dgm:pt>
    <dgm:pt modelId="{C8F151E7-982D-4C74-A677-6EECCA073C13}" type="pres">
      <dgm:prSet presAssocID="{29EA4F0B-46D3-4201-B639-A85ABC41BD73}" presName="Name0" presStyleCnt="0">
        <dgm:presLayoutVars>
          <dgm:dir/>
          <dgm:resizeHandles val="exact"/>
        </dgm:presLayoutVars>
      </dgm:prSet>
      <dgm:spPr/>
    </dgm:pt>
    <dgm:pt modelId="{49CF1AC0-37A5-4F23-9E1F-75BCE0AEEF53}" type="pres">
      <dgm:prSet presAssocID="{8682D599-A1BC-452A-84AB-2618D1504142}" presName="composite" presStyleCnt="0"/>
      <dgm:spPr/>
    </dgm:pt>
    <dgm:pt modelId="{72F4F28F-5A40-4446-B73F-24FA8C091425}" type="pres">
      <dgm:prSet presAssocID="{8682D599-A1BC-452A-84AB-2618D1504142}" presName="bgChev" presStyleLbl="node1" presStyleIdx="0" presStyleCnt="4"/>
      <dgm:spPr/>
    </dgm:pt>
    <dgm:pt modelId="{637ED223-C7C6-40C2-8A61-02C658CF3A2F}" type="pres">
      <dgm:prSet presAssocID="{8682D599-A1BC-452A-84AB-2618D1504142}" presName="txNode" presStyleLbl="fgAcc1" presStyleIdx="0" presStyleCnt="4" custScaleX="113137" custScaleY="144740">
        <dgm:presLayoutVars>
          <dgm:bulletEnabled val="1"/>
        </dgm:presLayoutVars>
      </dgm:prSet>
      <dgm:spPr/>
    </dgm:pt>
    <dgm:pt modelId="{7D79CC61-D7BE-4C27-A6F1-CD065F0F39F6}" type="pres">
      <dgm:prSet presAssocID="{35B0260E-ED6A-4394-B4CD-9902780144FF}" presName="compositeSpace" presStyleCnt="0"/>
      <dgm:spPr/>
    </dgm:pt>
    <dgm:pt modelId="{E7020CFC-C224-484C-BE46-4F3029BAB996}" type="pres">
      <dgm:prSet presAssocID="{8F349396-A8C3-4080-A0DA-C96009C604FD}" presName="composite" presStyleCnt="0"/>
      <dgm:spPr/>
    </dgm:pt>
    <dgm:pt modelId="{5342529E-9947-4A14-8F56-492B85601A2B}" type="pres">
      <dgm:prSet presAssocID="{8F349396-A8C3-4080-A0DA-C96009C604FD}" presName="bgChev" presStyleLbl="node1" presStyleIdx="1" presStyleCnt="4"/>
      <dgm:spPr/>
    </dgm:pt>
    <dgm:pt modelId="{8C67DA84-B66B-491D-A739-E7FDB8FE7E68}" type="pres">
      <dgm:prSet presAssocID="{8F349396-A8C3-4080-A0DA-C96009C604FD}" presName="txNode" presStyleLbl="fgAcc1" presStyleIdx="1" presStyleCnt="4" custScaleX="113137" custScaleY="144740">
        <dgm:presLayoutVars>
          <dgm:bulletEnabled val="1"/>
        </dgm:presLayoutVars>
      </dgm:prSet>
      <dgm:spPr/>
    </dgm:pt>
    <dgm:pt modelId="{3B875673-36EC-4B81-A4D4-AB11F0773686}" type="pres">
      <dgm:prSet presAssocID="{94C61F0F-5E42-4949-88E2-16B41EC04771}" presName="compositeSpace" presStyleCnt="0"/>
      <dgm:spPr/>
    </dgm:pt>
    <dgm:pt modelId="{7C313287-984F-49F1-AF06-689716C0FFB7}" type="pres">
      <dgm:prSet presAssocID="{B4C26C58-C3D0-4C65-8EFF-853A73FCFEC2}" presName="composite" presStyleCnt="0"/>
      <dgm:spPr/>
    </dgm:pt>
    <dgm:pt modelId="{7F6E88C1-BE67-45F6-900E-E4740C34D4F6}" type="pres">
      <dgm:prSet presAssocID="{B4C26C58-C3D0-4C65-8EFF-853A73FCFEC2}" presName="bgChev" presStyleLbl="node1" presStyleIdx="2" presStyleCnt="4"/>
      <dgm:spPr/>
    </dgm:pt>
    <dgm:pt modelId="{899870CB-525E-4B98-B3BF-BFFC0EBA3FD8}" type="pres">
      <dgm:prSet presAssocID="{B4C26C58-C3D0-4C65-8EFF-853A73FCFEC2}" presName="txNode" presStyleLbl="fgAcc1" presStyleIdx="2" presStyleCnt="4" custScaleX="113137" custScaleY="144740">
        <dgm:presLayoutVars>
          <dgm:bulletEnabled val="1"/>
        </dgm:presLayoutVars>
      </dgm:prSet>
      <dgm:spPr/>
    </dgm:pt>
    <dgm:pt modelId="{CC33D81B-6C98-474D-9D78-A89FA0F9F118}" type="pres">
      <dgm:prSet presAssocID="{85CA90B1-F124-4F5A-8FA3-B581DE6DC355}" presName="compositeSpace" presStyleCnt="0"/>
      <dgm:spPr/>
    </dgm:pt>
    <dgm:pt modelId="{2F0D080D-4CAB-462E-B6F5-F04AB3B21F71}" type="pres">
      <dgm:prSet presAssocID="{7A641774-4A66-4AB0-AA7C-CDB949B9DF00}" presName="composite" presStyleCnt="0"/>
      <dgm:spPr/>
    </dgm:pt>
    <dgm:pt modelId="{4D485240-D5B2-44FE-BA3F-37ACB8DECDD1}" type="pres">
      <dgm:prSet presAssocID="{7A641774-4A66-4AB0-AA7C-CDB949B9DF00}" presName="bgChev" presStyleLbl="node1" presStyleIdx="3" presStyleCnt="4"/>
      <dgm:spPr/>
    </dgm:pt>
    <dgm:pt modelId="{A47C43F3-21FD-4F8F-964A-6B8096F5114A}" type="pres">
      <dgm:prSet presAssocID="{7A641774-4A66-4AB0-AA7C-CDB949B9DF00}" presName="txNode" presStyleLbl="fgAcc1" presStyleIdx="3" presStyleCnt="4" custScaleX="113137" custScaleY="144740">
        <dgm:presLayoutVars>
          <dgm:bulletEnabled val="1"/>
        </dgm:presLayoutVars>
      </dgm:prSet>
      <dgm:spPr/>
    </dgm:pt>
  </dgm:ptLst>
  <dgm:cxnLst>
    <dgm:cxn modelId="{73C2DD1A-908D-4FC0-9A5D-17C6745C60E4}" srcId="{29EA4F0B-46D3-4201-B639-A85ABC41BD73}" destId="{7A641774-4A66-4AB0-AA7C-CDB949B9DF00}" srcOrd="3" destOrd="0" parTransId="{A791EB7C-61F8-48A1-B814-C243ACC6BE75}" sibTransId="{2BA5B5AF-4E97-4833-916A-B3F5DA695237}"/>
    <dgm:cxn modelId="{88E03F4A-839C-4B78-84B7-F736110AADBB}" type="presOf" srcId="{B4C26C58-C3D0-4C65-8EFF-853A73FCFEC2}" destId="{899870CB-525E-4B98-B3BF-BFFC0EBA3FD8}" srcOrd="0" destOrd="0" presId="urn:microsoft.com/office/officeart/2005/8/layout/chevronAccent+Icon"/>
    <dgm:cxn modelId="{6202707D-3388-4D1D-86B7-5CC6CF7A643E}" type="presOf" srcId="{8F349396-A8C3-4080-A0DA-C96009C604FD}" destId="{8C67DA84-B66B-491D-A739-E7FDB8FE7E68}" srcOrd="0" destOrd="0" presId="urn:microsoft.com/office/officeart/2005/8/layout/chevronAccent+Icon"/>
    <dgm:cxn modelId="{F0F1437E-9F25-4651-9BC5-43EDBF687ED5}" srcId="{29EA4F0B-46D3-4201-B639-A85ABC41BD73}" destId="{8682D599-A1BC-452A-84AB-2618D1504142}" srcOrd="0" destOrd="0" parTransId="{DF703811-113C-4444-9AF2-81B2B6DD53FD}" sibTransId="{35B0260E-ED6A-4394-B4CD-9902780144FF}"/>
    <dgm:cxn modelId="{0A7F20BE-828A-456D-9EBC-4ABC4A30654D}" srcId="{29EA4F0B-46D3-4201-B639-A85ABC41BD73}" destId="{B4C26C58-C3D0-4C65-8EFF-853A73FCFEC2}" srcOrd="2" destOrd="0" parTransId="{5951E394-B4DE-4746-BB75-DB8F5ACD33B5}" sibTransId="{85CA90B1-F124-4F5A-8FA3-B581DE6DC355}"/>
    <dgm:cxn modelId="{568A89C5-7B33-40A9-8C1B-D3C8F3CB8720}" type="presOf" srcId="{29EA4F0B-46D3-4201-B639-A85ABC41BD73}" destId="{C8F151E7-982D-4C74-A677-6EECCA073C13}" srcOrd="0" destOrd="0" presId="urn:microsoft.com/office/officeart/2005/8/layout/chevronAccent+Icon"/>
    <dgm:cxn modelId="{715165CC-1FB4-421C-912B-57051922609F}" srcId="{29EA4F0B-46D3-4201-B639-A85ABC41BD73}" destId="{8F349396-A8C3-4080-A0DA-C96009C604FD}" srcOrd="1" destOrd="0" parTransId="{E49534C2-29BF-42C5-9032-9F40514BA3B3}" sibTransId="{94C61F0F-5E42-4949-88E2-16B41EC04771}"/>
    <dgm:cxn modelId="{22EEBBDA-6D62-4D29-BC9B-46C13CBEBE47}" type="presOf" srcId="{7A641774-4A66-4AB0-AA7C-CDB949B9DF00}" destId="{A47C43F3-21FD-4F8F-964A-6B8096F5114A}" srcOrd="0" destOrd="0" presId="urn:microsoft.com/office/officeart/2005/8/layout/chevronAccent+Icon"/>
    <dgm:cxn modelId="{1C6EC0DA-0076-4B8B-9032-A1E86327A4AE}" type="presOf" srcId="{8682D599-A1BC-452A-84AB-2618D1504142}" destId="{637ED223-C7C6-40C2-8A61-02C658CF3A2F}" srcOrd="0" destOrd="0" presId="urn:microsoft.com/office/officeart/2005/8/layout/chevronAccent+Icon"/>
    <dgm:cxn modelId="{EC467AB4-BFAB-4EE1-AA89-29A9DCAF6F62}" type="presParOf" srcId="{C8F151E7-982D-4C74-A677-6EECCA073C13}" destId="{49CF1AC0-37A5-4F23-9E1F-75BCE0AEEF53}" srcOrd="0" destOrd="0" presId="urn:microsoft.com/office/officeart/2005/8/layout/chevronAccent+Icon"/>
    <dgm:cxn modelId="{B0B60157-274E-4E6E-8796-C3AF8A4FC0E9}" type="presParOf" srcId="{49CF1AC0-37A5-4F23-9E1F-75BCE0AEEF53}" destId="{72F4F28F-5A40-4446-B73F-24FA8C091425}" srcOrd="0" destOrd="0" presId="urn:microsoft.com/office/officeart/2005/8/layout/chevronAccent+Icon"/>
    <dgm:cxn modelId="{5B3343EA-54EF-424F-9B11-546F8A8E5DAA}" type="presParOf" srcId="{49CF1AC0-37A5-4F23-9E1F-75BCE0AEEF53}" destId="{637ED223-C7C6-40C2-8A61-02C658CF3A2F}" srcOrd="1" destOrd="0" presId="urn:microsoft.com/office/officeart/2005/8/layout/chevronAccent+Icon"/>
    <dgm:cxn modelId="{54631C09-56A8-42B1-8226-B3BC4920DF53}" type="presParOf" srcId="{C8F151E7-982D-4C74-A677-6EECCA073C13}" destId="{7D79CC61-D7BE-4C27-A6F1-CD065F0F39F6}" srcOrd="1" destOrd="0" presId="urn:microsoft.com/office/officeart/2005/8/layout/chevronAccent+Icon"/>
    <dgm:cxn modelId="{AF925F7B-BC2C-4974-921C-40F593BA6707}" type="presParOf" srcId="{C8F151E7-982D-4C74-A677-6EECCA073C13}" destId="{E7020CFC-C224-484C-BE46-4F3029BAB996}" srcOrd="2" destOrd="0" presId="urn:microsoft.com/office/officeart/2005/8/layout/chevronAccent+Icon"/>
    <dgm:cxn modelId="{07753693-B72A-4483-8075-5B0ECB3F0C70}" type="presParOf" srcId="{E7020CFC-C224-484C-BE46-4F3029BAB996}" destId="{5342529E-9947-4A14-8F56-492B85601A2B}" srcOrd="0" destOrd="0" presId="urn:microsoft.com/office/officeart/2005/8/layout/chevronAccent+Icon"/>
    <dgm:cxn modelId="{BA7E1921-16E9-4D78-A745-8240B247D881}" type="presParOf" srcId="{E7020CFC-C224-484C-BE46-4F3029BAB996}" destId="{8C67DA84-B66B-491D-A739-E7FDB8FE7E68}" srcOrd="1" destOrd="0" presId="urn:microsoft.com/office/officeart/2005/8/layout/chevronAccent+Icon"/>
    <dgm:cxn modelId="{E96DCD36-4C6F-4893-AC92-80250070E55A}" type="presParOf" srcId="{C8F151E7-982D-4C74-A677-6EECCA073C13}" destId="{3B875673-36EC-4B81-A4D4-AB11F0773686}" srcOrd="3" destOrd="0" presId="urn:microsoft.com/office/officeart/2005/8/layout/chevronAccent+Icon"/>
    <dgm:cxn modelId="{22907ED0-5DBF-4C15-9643-B8C0E5D6177E}" type="presParOf" srcId="{C8F151E7-982D-4C74-A677-6EECCA073C13}" destId="{7C313287-984F-49F1-AF06-689716C0FFB7}" srcOrd="4" destOrd="0" presId="urn:microsoft.com/office/officeart/2005/8/layout/chevronAccent+Icon"/>
    <dgm:cxn modelId="{F167004D-C1CC-4653-8136-B2AFADF197D1}" type="presParOf" srcId="{7C313287-984F-49F1-AF06-689716C0FFB7}" destId="{7F6E88C1-BE67-45F6-900E-E4740C34D4F6}" srcOrd="0" destOrd="0" presId="urn:microsoft.com/office/officeart/2005/8/layout/chevronAccent+Icon"/>
    <dgm:cxn modelId="{2C8350BE-8053-4943-BE57-ED17087014C9}" type="presParOf" srcId="{7C313287-984F-49F1-AF06-689716C0FFB7}" destId="{899870CB-525E-4B98-B3BF-BFFC0EBA3FD8}" srcOrd="1" destOrd="0" presId="urn:microsoft.com/office/officeart/2005/8/layout/chevronAccent+Icon"/>
    <dgm:cxn modelId="{8AB3C66A-0CF0-46B4-85FF-72A62651CC8C}" type="presParOf" srcId="{C8F151E7-982D-4C74-A677-6EECCA073C13}" destId="{CC33D81B-6C98-474D-9D78-A89FA0F9F118}" srcOrd="5" destOrd="0" presId="urn:microsoft.com/office/officeart/2005/8/layout/chevronAccent+Icon"/>
    <dgm:cxn modelId="{80BE5AF0-262F-426D-A7F6-159A7FD907D7}" type="presParOf" srcId="{C8F151E7-982D-4C74-A677-6EECCA073C13}" destId="{2F0D080D-4CAB-462E-B6F5-F04AB3B21F71}" srcOrd="6" destOrd="0" presId="urn:microsoft.com/office/officeart/2005/8/layout/chevronAccent+Icon"/>
    <dgm:cxn modelId="{B32ED2F4-EE31-4311-A0DE-8C2CA59906DC}" type="presParOf" srcId="{2F0D080D-4CAB-462E-B6F5-F04AB3B21F71}" destId="{4D485240-D5B2-44FE-BA3F-37ACB8DECDD1}" srcOrd="0" destOrd="0" presId="urn:microsoft.com/office/officeart/2005/8/layout/chevronAccent+Icon"/>
    <dgm:cxn modelId="{1B2495E9-B6A6-4EFF-807A-4AF3E08CFD10}" type="presParOf" srcId="{2F0D080D-4CAB-462E-B6F5-F04AB3B21F71}" destId="{A47C43F3-21FD-4F8F-964A-6B8096F5114A}"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6E30150-96FA-402D-80CB-F0796615B8B9}" type="doc">
      <dgm:prSet loTypeId="urn:microsoft.com/office/officeart/2005/8/layout/vList2" loCatId="list" qsTypeId="urn:microsoft.com/office/officeart/2005/8/quickstyle/simple1" qsCatId="simple" csTypeId="urn:microsoft.com/office/officeart/2005/8/colors/colorful3" csCatId="colorful"/>
      <dgm:spPr/>
      <dgm:t>
        <a:bodyPr/>
        <a:lstStyle/>
        <a:p>
          <a:endParaRPr lang="en-US"/>
        </a:p>
      </dgm:t>
    </dgm:pt>
    <dgm:pt modelId="{EF937A6D-02DC-4218-833E-E34FF8C6EFE9}">
      <dgm:prSet/>
      <dgm:spPr/>
      <dgm:t>
        <a:bodyPr/>
        <a:lstStyle/>
        <a:p>
          <a:r>
            <a:rPr lang="en-US"/>
            <a:t>Randomized</a:t>
          </a:r>
        </a:p>
      </dgm:t>
    </dgm:pt>
    <dgm:pt modelId="{2C0532FD-D2F7-41FF-A2C8-5802236D985E}" type="parTrans" cxnId="{7C510695-9544-4502-AD40-419DBDD340BF}">
      <dgm:prSet/>
      <dgm:spPr/>
      <dgm:t>
        <a:bodyPr/>
        <a:lstStyle/>
        <a:p>
          <a:endParaRPr lang="en-US"/>
        </a:p>
      </dgm:t>
    </dgm:pt>
    <dgm:pt modelId="{01C605B7-BA4A-470B-B9A3-6043EED3E61D}" type="sibTrans" cxnId="{7C510695-9544-4502-AD40-419DBDD340BF}">
      <dgm:prSet/>
      <dgm:spPr/>
      <dgm:t>
        <a:bodyPr/>
        <a:lstStyle/>
        <a:p>
          <a:endParaRPr lang="en-US"/>
        </a:p>
      </dgm:t>
    </dgm:pt>
    <dgm:pt modelId="{927363C5-7834-43DE-B2D2-B5706B153D5F}">
      <dgm:prSet/>
      <dgm:spPr/>
      <dgm:t>
        <a:bodyPr/>
        <a:lstStyle/>
        <a:p>
          <a:r>
            <a:rPr lang="en-US"/>
            <a:t>Unpredictable results, more secure</a:t>
          </a:r>
        </a:p>
      </dgm:t>
    </dgm:pt>
    <dgm:pt modelId="{9F8C27F7-8946-4364-BB9F-7BCC3651DF4B}" type="parTrans" cxnId="{98D22E72-F11E-499C-99A0-14ADD9CADE61}">
      <dgm:prSet/>
      <dgm:spPr/>
      <dgm:t>
        <a:bodyPr/>
        <a:lstStyle/>
        <a:p>
          <a:endParaRPr lang="en-US"/>
        </a:p>
      </dgm:t>
    </dgm:pt>
    <dgm:pt modelId="{255F4E66-AF4F-43F2-A48D-CBE23AD2F4BD}" type="sibTrans" cxnId="{98D22E72-F11E-499C-99A0-14ADD9CADE61}">
      <dgm:prSet/>
      <dgm:spPr/>
      <dgm:t>
        <a:bodyPr/>
        <a:lstStyle/>
        <a:p>
          <a:endParaRPr lang="en-US"/>
        </a:p>
      </dgm:t>
    </dgm:pt>
    <dgm:pt modelId="{3E7C9188-5D78-4D02-82D6-20BCBA14C70D}">
      <dgm:prSet/>
      <dgm:spPr/>
      <dgm:t>
        <a:bodyPr/>
        <a:lstStyle/>
        <a:p>
          <a:r>
            <a:rPr lang="en-US"/>
            <a:t>No support for equality searches, joins, grouping, or indexing</a:t>
          </a:r>
        </a:p>
      </dgm:t>
    </dgm:pt>
    <dgm:pt modelId="{2842874D-FE14-469C-AD76-AD7A3D36FC50}" type="parTrans" cxnId="{981A04E4-7443-43A3-B9CB-CACB593928B6}">
      <dgm:prSet/>
      <dgm:spPr/>
      <dgm:t>
        <a:bodyPr/>
        <a:lstStyle/>
        <a:p>
          <a:endParaRPr lang="en-US"/>
        </a:p>
      </dgm:t>
    </dgm:pt>
    <dgm:pt modelId="{E0E4A610-3F52-4F61-AB83-4B41E5C32B67}" type="sibTrans" cxnId="{981A04E4-7443-43A3-B9CB-CACB593928B6}">
      <dgm:prSet/>
      <dgm:spPr/>
      <dgm:t>
        <a:bodyPr/>
        <a:lstStyle/>
        <a:p>
          <a:endParaRPr lang="en-US"/>
        </a:p>
      </dgm:t>
    </dgm:pt>
    <dgm:pt modelId="{71D9BDF0-55D9-4EB4-9981-D351AE419AEF}">
      <dgm:prSet/>
      <dgm:spPr/>
      <dgm:t>
        <a:bodyPr/>
        <a:lstStyle/>
        <a:p>
          <a:r>
            <a:rPr lang="en-US"/>
            <a:t>Use for data that is returned, but not queried</a:t>
          </a:r>
        </a:p>
      </dgm:t>
    </dgm:pt>
    <dgm:pt modelId="{E8616D70-FB4D-43EF-A698-11BB833167D5}" type="parTrans" cxnId="{DD1BAFC4-2448-44DD-92F0-D57B406D9DED}">
      <dgm:prSet/>
      <dgm:spPr/>
      <dgm:t>
        <a:bodyPr/>
        <a:lstStyle/>
        <a:p>
          <a:endParaRPr lang="en-US"/>
        </a:p>
      </dgm:t>
    </dgm:pt>
    <dgm:pt modelId="{34B7FFAD-5D91-49DB-B730-35654759A4E8}" type="sibTrans" cxnId="{DD1BAFC4-2448-44DD-92F0-D57B406D9DED}">
      <dgm:prSet/>
      <dgm:spPr/>
      <dgm:t>
        <a:bodyPr/>
        <a:lstStyle/>
        <a:p>
          <a:endParaRPr lang="en-US"/>
        </a:p>
      </dgm:t>
    </dgm:pt>
    <dgm:pt modelId="{2D26B72E-E24A-4EEC-B1B0-22CD053DE655}">
      <dgm:prSet/>
      <dgm:spPr/>
      <dgm:t>
        <a:bodyPr/>
        <a:lstStyle/>
        <a:p>
          <a:r>
            <a:rPr lang="en-US"/>
            <a:t>Deterministic</a:t>
          </a:r>
        </a:p>
      </dgm:t>
    </dgm:pt>
    <dgm:pt modelId="{04E3FF78-7A0D-417E-8721-B3AD0E8E02EE}" type="parTrans" cxnId="{9F1E23A7-0300-4DD3-9F32-3185084F0898}">
      <dgm:prSet/>
      <dgm:spPr/>
      <dgm:t>
        <a:bodyPr/>
        <a:lstStyle/>
        <a:p>
          <a:endParaRPr lang="en-US"/>
        </a:p>
      </dgm:t>
    </dgm:pt>
    <dgm:pt modelId="{52F04450-33DE-4C0E-A22B-E73CE34B6484}" type="sibTrans" cxnId="{9F1E23A7-0300-4DD3-9F32-3185084F0898}">
      <dgm:prSet/>
      <dgm:spPr/>
      <dgm:t>
        <a:bodyPr/>
        <a:lstStyle/>
        <a:p>
          <a:endParaRPr lang="en-US"/>
        </a:p>
      </dgm:t>
    </dgm:pt>
    <dgm:pt modelId="{6A46B55B-777E-4B1C-BE02-92B49E7DDE30}">
      <dgm:prSet/>
      <dgm:spPr/>
      <dgm:t>
        <a:bodyPr/>
        <a:lstStyle/>
        <a:p>
          <a:r>
            <a:rPr lang="en-US"/>
            <a:t>Predictable results, less secure</a:t>
          </a:r>
        </a:p>
      </dgm:t>
    </dgm:pt>
    <dgm:pt modelId="{67DA7204-B458-41F0-89F9-506126F443B9}" type="parTrans" cxnId="{53233A24-9899-4BF0-9D23-28E0171A46E7}">
      <dgm:prSet/>
      <dgm:spPr/>
      <dgm:t>
        <a:bodyPr/>
        <a:lstStyle/>
        <a:p>
          <a:endParaRPr lang="en-US"/>
        </a:p>
      </dgm:t>
    </dgm:pt>
    <dgm:pt modelId="{EC8A2421-7E00-4D77-8CDC-3D4617199CFF}" type="sibTrans" cxnId="{53233A24-9899-4BF0-9D23-28E0171A46E7}">
      <dgm:prSet/>
      <dgm:spPr/>
      <dgm:t>
        <a:bodyPr/>
        <a:lstStyle/>
        <a:p>
          <a:endParaRPr lang="en-US"/>
        </a:p>
      </dgm:t>
    </dgm:pt>
    <dgm:pt modelId="{0655FFD0-3DBE-4553-9FC1-A17D6347479B}">
      <dgm:prSet/>
      <dgm:spPr/>
      <dgm:t>
        <a:bodyPr/>
        <a:lstStyle/>
        <a:p>
          <a:r>
            <a:rPr lang="en-US"/>
            <a:t>Use for data that must be queried (equality support only)</a:t>
          </a:r>
        </a:p>
      </dgm:t>
    </dgm:pt>
    <dgm:pt modelId="{E450078C-93F1-4013-87EC-0C2AFD1E4796}" type="parTrans" cxnId="{803CE59A-5188-4D08-A49C-49AAE7A80870}">
      <dgm:prSet/>
      <dgm:spPr/>
      <dgm:t>
        <a:bodyPr/>
        <a:lstStyle/>
        <a:p>
          <a:endParaRPr lang="en-US"/>
        </a:p>
      </dgm:t>
    </dgm:pt>
    <dgm:pt modelId="{11D2D584-E0CC-4D5A-84EB-4BA067CB2728}" type="sibTrans" cxnId="{803CE59A-5188-4D08-A49C-49AAE7A80870}">
      <dgm:prSet/>
      <dgm:spPr/>
      <dgm:t>
        <a:bodyPr/>
        <a:lstStyle/>
        <a:p>
          <a:endParaRPr lang="en-US"/>
        </a:p>
      </dgm:t>
    </dgm:pt>
    <dgm:pt modelId="{28E2B1E8-3FE9-4E78-AA83-BAB79BDB395C}">
      <dgm:prSet/>
      <dgm:spPr/>
      <dgm:t>
        <a:bodyPr/>
        <a:lstStyle/>
        <a:p>
          <a:r>
            <a:rPr lang="en-US"/>
            <a:t>Easier to guess by examining encryption results</a:t>
          </a:r>
        </a:p>
      </dgm:t>
    </dgm:pt>
    <dgm:pt modelId="{A57A5A2E-4A3A-4D1D-8EB4-E1A8925D0868}" type="parTrans" cxnId="{D0F85843-B786-4EF1-A565-D9EEBA750993}">
      <dgm:prSet/>
      <dgm:spPr/>
      <dgm:t>
        <a:bodyPr/>
        <a:lstStyle/>
        <a:p>
          <a:endParaRPr lang="en-US"/>
        </a:p>
      </dgm:t>
    </dgm:pt>
    <dgm:pt modelId="{4482800B-1E33-4FA3-A7F5-140ED139B57D}" type="sibTrans" cxnId="{D0F85843-B786-4EF1-A565-D9EEBA750993}">
      <dgm:prSet/>
      <dgm:spPr/>
      <dgm:t>
        <a:bodyPr/>
        <a:lstStyle/>
        <a:p>
          <a:endParaRPr lang="en-US"/>
        </a:p>
      </dgm:t>
    </dgm:pt>
    <dgm:pt modelId="{77AEB1E8-0C50-4EDA-BDF6-BB86555A2A97}">
      <dgm:prSet/>
      <dgm:spPr/>
      <dgm:t>
        <a:bodyPr/>
        <a:lstStyle/>
        <a:p>
          <a:r>
            <a:rPr lang="en-US"/>
            <a:t>Increased risk for small value sets (True/False)</a:t>
          </a:r>
        </a:p>
      </dgm:t>
    </dgm:pt>
    <dgm:pt modelId="{6656FA7D-E6C9-4790-A573-D3CBCA649412}" type="parTrans" cxnId="{B24787A7-D400-4ED6-8856-905C1DF14923}">
      <dgm:prSet/>
      <dgm:spPr/>
      <dgm:t>
        <a:bodyPr/>
        <a:lstStyle/>
        <a:p>
          <a:endParaRPr lang="en-US"/>
        </a:p>
      </dgm:t>
    </dgm:pt>
    <dgm:pt modelId="{5C7FEDB1-EDDD-431A-BD31-3AE215260054}" type="sibTrans" cxnId="{B24787A7-D400-4ED6-8856-905C1DF14923}">
      <dgm:prSet/>
      <dgm:spPr/>
      <dgm:t>
        <a:bodyPr/>
        <a:lstStyle/>
        <a:p>
          <a:endParaRPr lang="en-US"/>
        </a:p>
      </dgm:t>
    </dgm:pt>
    <dgm:pt modelId="{4B4316D6-F06A-4D17-BB9D-F107C7046018}" type="pres">
      <dgm:prSet presAssocID="{56E30150-96FA-402D-80CB-F0796615B8B9}" presName="linear" presStyleCnt="0">
        <dgm:presLayoutVars>
          <dgm:animLvl val="lvl"/>
          <dgm:resizeHandles val="exact"/>
        </dgm:presLayoutVars>
      </dgm:prSet>
      <dgm:spPr/>
    </dgm:pt>
    <dgm:pt modelId="{4B6C7B29-5E29-475E-8D25-05B3DF5F7EF1}" type="pres">
      <dgm:prSet presAssocID="{EF937A6D-02DC-4218-833E-E34FF8C6EFE9}" presName="parentText" presStyleLbl="node1" presStyleIdx="0" presStyleCnt="2">
        <dgm:presLayoutVars>
          <dgm:chMax val="0"/>
          <dgm:bulletEnabled val="1"/>
        </dgm:presLayoutVars>
      </dgm:prSet>
      <dgm:spPr/>
    </dgm:pt>
    <dgm:pt modelId="{347DDF72-833B-4D71-9AB8-B1CAECC008C2}" type="pres">
      <dgm:prSet presAssocID="{EF937A6D-02DC-4218-833E-E34FF8C6EFE9}" presName="childText" presStyleLbl="revTx" presStyleIdx="0" presStyleCnt="2">
        <dgm:presLayoutVars>
          <dgm:bulletEnabled val="1"/>
        </dgm:presLayoutVars>
      </dgm:prSet>
      <dgm:spPr/>
    </dgm:pt>
    <dgm:pt modelId="{60288A71-040D-49F0-9C9C-D3A0AF3A1D2D}" type="pres">
      <dgm:prSet presAssocID="{2D26B72E-E24A-4EEC-B1B0-22CD053DE655}" presName="parentText" presStyleLbl="node1" presStyleIdx="1" presStyleCnt="2">
        <dgm:presLayoutVars>
          <dgm:chMax val="0"/>
          <dgm:bulletEnabled val="1"/>
        </dgm:presLayoutVars>
      </dgm:prSet>
      <dgm:spPr/>
    </dgm:pt>
    <dgm:pt modelId="{15059464-07DD-4E25-9393-A670A9C95EF8}" type="pres">
      <dgm:prSet presAssocID="{2D26B72E-E24A-4EEC-B1B0-22CD053DE655}" presName="childText" presStyleLbl="revTx" presStyleIdx="1" presStyleCnt="2">
        <dgm:presLayoutVars>
          <dgm:bulletEnabled val="1"/>
        </dgm:presLayoutVars>
      </dgm:prSet>
      <dgm:spPr/>
    </dgm:pt>
  </dgm:ptLst>
  <dgm:cxnLst>
    <dgm:cxn modelId="{ED36611C-948A-44EE-B3C2-A0E38039D8A4}" type="presOf" srcId="{28E2B1E8-3FE9-4E78-AA83-BAB79BDB395C}" destId="{15059464-07DD-4E25-9393-A670A9C95EF8}" srcOrd="0" destOrd="2" presId="urn:microsoft.com/office/officeart/2005/8/layout/vList2"/>
    <dgm:cxn modelId="{53233A24-9899-4BF0-9D23-28E0171A46E7}" srcId="{2D26B72E-E24A-4EEC-B1B0-22CD053DE655}" destId="{6A46B55B-777E-4B1C-BE02-92B49E7DDE30}" srcOrd="0" destOrd="0" parTransId="{67DA7204-B458-41F0-89F9-506126F443B9}" sibTransId="{EC8A2421-7E00-4D77-8CDC-3D4617199CFF}"/>
    <dgm:cxn modelId="{648FE45D-4EDE-4F56-8933-BB2C54FB2C11}" type="presOf" srcId="{2D26B72E-E24A-4EEC-B1B0-22CD053DE655}" destId="{60288A71-040D-49F0-9C9C-D3A0AF3A1D2D}" srcOrd="0" destOrd="0" presId="urn:microsoft.com/office/officeart/2005/8/layout/vList2"/>
    <dgm:cxn modelId="{D0F85843-B786-4EF1-A565-D9EEBA750993}" srcId="{2D26B72E-E24A-4EEC-B1B0-22CD053DE655}" destId="{28E2B1E8-3FE9-4E78-AA83-BAB79BDB395C}" srcOrd="2" destOrd="0" parTransId="{A57A5A2E-4A3A-4D1D-8EB4-E1A8925D0868}" sibTransId="{4482800B-1E33-4FA3-A7F5-140ED139B57D}"/>
    <dgm:cxn modelId="{EE424C70-FE94-40DA-A5A0-67DE63C9362E}" type="presOf" srcId="{EF937A6D-02DC-4218-833E-E34FF8C6EFE9}" destId="{4B6C7B29-5E29-475E-8D25-05B3DF5F7EF1}" srcOrd="0" destOrd="0" presId="urn:microsoft.com/office/officeart/2005/8/layout/vList2"/>
    <dgm:cxn modelId="{98D22E72-F11E-499C-99A0-14ADD9CADE61}" srcId="{EF937A6D-02DC-4218-833E-E34FF8C6EFE9}" destId="{927363C5-7834-43DE-B2D2-B5706B153D5F}" srcOrd="0" destOrd="0" parTransId="{9F8C27F7-8946-4364-BB9F-7BCC3651DF4B}" sibTransId="{255F4E66-AF4F-43F2-A48D-CBE23AD2F4BD}"/>
    <dgm:cxn modelId="{1B34008D-5392-47E3-8926-71B248E4594B}" type="presOf" srcId="{927363C5-7834-43DE-B2D2-B5706B153D5F}" destId="{347DDF72-833B-4D71-9AB8-B1CAECC008C2}" srcOrd="0" destOrd="0" presId="urn:microsoft.com/office/officeart/2005/8/layout/vList2"/>
    <dgm:cxn modelId="{7C510695-9544-4502-AD40-419DBDD340BF}" srcId="{56E30150-96FA-402D-80CB-F0796615B8B9}" destId="{EF937A6D-02DC-4218-833E-E34FF8C6EFE9}" srcOrd="0" destOrd="0" parTransId="{2C0532FD-D2F7-41FF-A2C8-5802236D985E}" sibTransId="{01C605B7-BA4A-470B-B9A3-6043EED3E61D}"/>
    <dgm:cxn modelId="{803CE59A-5188-4D08-A49C-49AAE7A80870}" srcId="{2D26B72E-E24A-4EEC-B1B0-22CD053DE655}" destId="{0655FFD0-3DBE-4553-9FC1-A17D6347479B}" srcOrd="1" destOrd="0" parTransId="{E450078C-93F1-4013-87EC-0C2AFD1E4796}" sibTransId="{11D2D584-E0CC-4D5A-84EB-4BA067CB2728}"/>
    <dgm:cxn modelId="{B05D25A4-6257-47FC-8015-A45A36DA21F3}" type="presOf" srcId="{77AEB1E8-0C50-4EDA-BDF6-BB86555A2A97}" destId="{15059464-07DD-4E25-9393-A670A9C95EF8}" srcOrd="0" destOrd="3" presId="urn:microsoft.com/office/officeart/2005/8/layout/vList2"/>
    <dgm:cxn modelId="{9F1E23A7-0300-4DD3-9F32-3185084F0898}" srcId="{56E30150-96FA-402D-80CB-F0796615B8B9}" destId="{2D26B72E-E24A-4EEC-B1B0-22CD053DE655}" srcOrd="1" destOrd="0" parTransId="{04E3FF78-7A0D-417E-8721-B3AD0E8E02EE}" sibTransId="{52F04450-33DE-4C0E-A22B-E73CE34B6484}"/>
    <dgm:cxn modelId="{B24787A7-D400-4ED6-8856-905C1DF14923}" srcId="{28E2B1E8-3FE9-4E78-AA83-BAB79BDB395C}" destId="{77AEB1E8-0C50-4EDA-BDF6-BB86555A2A97}" srcOrd="0" destOrd="0" parTransId="{6656FA7D-E6C9-4790-A573-D3CBCA649412}" sibTransId="{5C7FEDB1-EDDD-431A-BD31-3AE215260054}"/>
    <dgm:cxn modelId="{5BAC71B9-D11B-47B7-B2A1-7FF45D024F48}" type="presOf" srcId="{56E30150-96FA-402D-80CB-F0796615B8B9}" destId="{4B4316D6-F06A-4D17-BB9D-F107C7046018}" srcOrd="0" destOrd="0" presId="urn:microsoft.com/office/officeart/2005/8/layout/vList2"/>
    <dgm:cxn modelId="{398AFDBC-1615-4CF6-BAC3-90BF6121A605}" type="presOf" srcId="{6A46B55B-777E-4B1C-BE02-92B49E7DDE30}" destId="{15059464-07DD-4E25-9393-A670A9C95EF8}" srcOrd="0" destOrd="0" presId="urn:microsoft.com/office/officeart/2005/8/layout/vList2"/>
    <dgm:cxn modelId="{78BA4DBE-F948-435F-999A-65E777FDEAA1}" type="presOf" srcId="{71D9BDF0-55D9-4EB4-9981-D351AE419AEF}" destId="{347DDF72-833B-4D71-9AB8-B1CAECC008C2}" srcOrd="0" destOrd="2" presId="urn:microsoft.com/office/officeart/2005/8/layout/vList2"/>
    <dgm:cxn modelId="{DD1BAFC4-2448-44DD-92F0-D57B406D9DED}" srcId="{EF937A6D-02DC-4218-833E-E34FF8C6EFE9}" destId="{71D9BDF0-55D9-4EB4-9981-D351AE419AEF}" srcOrd="2" destOrd="0" parTransId="{E8616D70-FB4D-43EF-A698-11BB833167D5}" sibTransId="{34B7FFAD-5D91-49DB-B730-35654759A4E8}"/>
    <dgm:cxn modelId="{981A04E4-7443-43A3-B9CB-CACB593928B6}" srcId="{EF937A6D-02DC-4218-833E-E34FF8C6EFE9}" destId="{3E7C9188-5D78-4D02-82D6-20BCBA14C70D}" srcOrd="1" destOrd="0" parTransId="{2842874D-FE14-469C-AD76-AD7A3D36FC50}" sibTransId="{E0E4A610-3F52-4F61-AB83-4B41E5C32B67}"/>
    <dgm:cxn modelId="{B92030F1-53BD-4AA4-A6D1-C84372A7DA65}" type="presOf" srcId="{0655FFD0-3DBE-4553-9FC1-A17D6347479B}" destId="{15059464-07DD-4E25-9393-A670A9C95EF8}" srcOrd="0" destOrd="1" presId="urn:microsoft.com/office/officeart/2005/8/layout/vList2"/>
    <dgm:cxn modelId="{42DE91FE-F184-46E4-89B8-B87B79B4B3BE}" type="presOf" srcId="{3E7C9188-5D78-4D02-82D6-20BCBA14C70D}" destId="{347DDF72-833B-4D71-9AB8-B1CAECC008C2}" srcOrd="0" destOrd="1" presId="urn:microsoft.com/office/officeart/2005/8/layout/vList2"/>
    <dgm:cxn modelId="{58052DC5-2E53-453F-BAF4-186A61982D07}" type="presParOf" srcId="{4B4316D6-F06A-4D17-BB9D-F107C7046018}" destId="{4B6C7B29-5E29-475E-8D25-05B3DF5F7EF1}" srcOrd="0" destOrd="0" presId="urn:microsoft.com/office/officeart/2005/8/layout/vList2"/>
    <dgm:cxn modelId="{4B53CC2A-DAA5-4296-9674-E4E30974D523}" type="presParOf" srcId="{4B4316D6-F06A-4D17-BB9D-F107C7046018}" destId="{347DDF72-833B-4D71-9AB8-B1CAECC008C2}" srcOrd="1" destOrd="0" presId="urn:microsoft.com/office/officeart/2005/8/layout/vList2"/>
    <dgm:cxn modelId="{9F6125BE-856A-4CBA-BB1C-9EEF9BAF57A6}" type="presParOf" srcId="{4B4316D6-F06A-4D17-BB9D-F107C7046018}" destId="{60288A71-040D-49F0-9C9C-D3A0AF3A1D2D}" srcOrd="2" destOrd="0" presId="urn:microsoft.com/office/officeart/2005/8/layout/vList2"/>
    <dgm:cxn modelId="{5186D40E-19DB-4296-A0A2-FEAEE0699CE4}" type="presParOf" srcId="{4B4316D6-F06A-4D17-BB9D-F107C7046018}" destId="{15059464-07DD-4E25-9393-A670A9C95EF8}"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1652A35-7085-43EC-B9FA-3053B838E293}" type="doc">
      <dgm:prSet loTypeId="urn:diagrams.loki3.com/BracketList" loCatId="list" qsTypeId="urn:microsoft.com/office/officeart/2005/8/quickstyle/simple1" qsCatId="simple" csTypeId="urn:microsoft.com/office/officeart/2005/8/colors/colorful1" csCatId="colorful" phldr="1"/>
      <dgm:spPr/>
      <dgm:t>
        <a:bodyPr/>
        <a:lstStyle/>
        <a:p>
          <a:endParaRPr lang="en-US"/>
        </a:p>
      </dgm:t>
    </dgm:pt>
    <dgm:pt modelId="{FFD0E221-8531-4B58-A677-8E6A155631ED}">
      <dgm:prSet custT="1"/>
      <dgm:spPr/>
      <dgm:t>
        <a:bodyPr/>
        <a:lstStyle/>
        <a:p>
          <a:r>
            <a:rPr lang="en-US" sz="2800" baseline="0" dirty="0"/>
            <a:t>Randomized encryption</a:t>
          </a:r>
          <a:endParaRPr lang="en-US" sz="2800" dirty="0"/>
        </a:p>
      </dgm:t>
    </dgm:pt>
    <dgm:pt modelId="{A888ED6F-22A5-4CD6-92C6-DDAD4BD4B4A7}" type="parTrans" cxnId="{DF22C21D-F489-4AD4-BE24-234E1FC0E8FC}">
      <dgm:prSet/>
      <dgm:spPr/>
      <dgm:t>
        <a:bodyPr/>
        <a:lstStyle/>
        <a:p>
          <a:endParaRPr lang="en-US" sz="2800"/>
        </a:p>
      </dgm:t>
    </dgm:pt>
    <dgm:pt modelId="{2937ACE3-3BFE-47B1-8E57-3CEB27448AF3}" type="sibTrans" cxnId="{DF22C21D-F489-4AD4-BE24-234E1FC0E8FC}">
      <dgm:prSet/>
      <dgm:spPr/>
      <dgm:t>
        <a:bodyPr/>
        <a:lstStyle/>
        <a:p>
          <a:endParaRPr lang="en-US" sz="2800"/>
        </a:p>
      </dgm:t>
    </dgm:pt>
    <dgm:pt modelId="{1BA853AA-C0E7-4582-97FF-940AADFFDB68}">
      <dgm:prSet custT="1"/>
      <dgm:spPr/>
      <dgm:t>
        <a:bodyPr/>
        <a:lstStyle/>
        <a:p>
          <a:r>
            <a:rPr lang="en-US" sz="2800" baseline="0" dirty="0"/>
            <a:t>Encrypt (‘123-45-6789’) = 0x0123A99C</a:t>
          </a:r>
          <a:endParaRPr lang="en-US" sz="2800" dirty="0"/>
        </a:p>
      </dgm:t>
    </dgm:pt>
    <dgm:pt modelId="{F537B3A0-F0CE-43F9-A208-054169D95E07}" type="parTrans" cxnId="{B62AD020-14DA-4C6F-B4D4-5193604C5F97}">
      <dgm:prSet/>
      <dgm:spPr/>
      <dgm:t>
        <a:bodyPr/>
        <a:lstStyle/>
        <a:p>
          <a:endParaRPr lang="en-US" sz="2800"/>
        </a:p>
      </dgm:t>
    </dgm:pt>
    <dgm:pt modelId="{43739201-CFC9-41FD-AC2B-70EECB16A299}" type="sibTrans" cxnId="{B62AD020-14DA-4C6F-B4D4-5193604C5F97}">
      <dgm:prSet/>
      <dgm:spPr/>
      <dgm:t>
        <a:bodyPr/>
        <a:lstStyle/>
        <a:p>
          <a:endParaRPr lang="en-US" sz="2800"/>
        </a:p>
      </dgm:t>
    </dgm:pt>
    <dgm:pt modelId="{E74EE592-79D5-435E-9001-76298CF81DF6}">
      <dgm:prSet custT="1"/>
      <dgm:spPr/>
      <dgm:t>
        <a:bodyPr/>
        <a:lstStyle/>
        <a:p>
          <a:r>
            <a:rPr lang="en-US" sz="2800" baseline="0" dirty="0"/>
            <a:t>Repeat: Encrypt (‘123-45-6789’) = 0x01EB449B</a:t>
          </a:r>
          <a:endParaRPr lang="en-US" sz="2800" dirty="0"/>
        </a:p>
      </dgm:t>
    </dgm:pt>
    <dgm:pt modelId="{56C5A02A-C5E5-409D-91A9-87D9C7B9C67C}" type="parTrans" cxnId="{6A43A416-BDEC-4104-BB93-33FECB550036}">
      <dgm:prSet/>
      <dgm:spPr/>
      <dgm:t>
        <a:bodyPr/>
        <a:lstStyle/>
        <a:p>
          <a:endParaRPr lang="en-US" sz="2800"/>
        </a:p>
      </dgm:t>
    </dgm:pt>
    <dgm:pt modelId="{13336CDD-5FBB-4B99-9AB9-CE31D59FD658}" type="sibTrans" cxnId="{6A43A416-BDEC-4104-BB93-33FECB550036}">
      <dgm:prSet/>
      <dgm:spPr/>
      <dgm:t>
        <a:bodyPr/>
        <a:lstStyle/>
        <a:p>
          <a:endParaRPr lang="en-US" sz="2800"/>
        </a:p>
      </dgm:t>
    </dgm:pt>
    <dgm:pt modelId="{B30E3783-91C7-4A8A-8F85-A728FBC28991}">
      <dgm:prSet custT="1"/>
      <dgm:spPr/>
      <dgm:t>
        <a:bodyPr/>
        <a:lstStyle/>
        <a:p>
          <a:r>
            <a:rPr lang="en-US" sz="2800" baseline="0"/>
            <a:t>Deterministic encryption</a:t>
          </a:r>
          <a:endParaRPr lang="en-US" sz="2800"/>
        </a:p>
      </dgm:t>
    </dgm:pt>
    <dgm:pt modelId="{94FE3C12-EBBC-43A9-AC5A-D0C62C867321}" type="parTrans" cxnId="{7ED681B7-034B-49EC-A962-2A64F8C73B37}">
      <dgm:prSet/>
      <dgm:spPr/>
      <dgm:t>
        <a:bodyPr/>
        <a:lstStyle/>
        <a:p>
          <a:endParaRPr lang="en-US" sz="2800"/>
        </a:p>
      </dgm:t>
    </dgm:pt>
    <dgm:pt modelId="{AABC8376-4A9F-4742-B1B5-07DC00D183B5}" type="sibTrans" cxnId="{7ED681B7-034B-49EC-A962-2A64F8C73B37}">
      <dgm:prSet/>
      <dgm:spPr/>
      <dgm:t>
        <a:bodyPr/>
        <a:lstStyle/>
        <a:p>
          <a:endParaRPr lang="en-US" sz="2800"/>
        </a:p>
      </dgm:t>
    </dgm:pt>
    <dgm:pt modelId="{6575F9A6-F307-4761-953F-D01EB9024B3C}">
      <dgm:prSet custT="1"/>
      <dgm:spPr/>
      <dgm:t>
        <a:bodyPr/>
        <a:lstStyle/>
        <a:p>
          <a:r>
            <a:rPr lang="en-US" sz="2800" baseline="0" dirty="0"/>
            <a:t>Encrypt (‘123-45-6789’) = 0x17cfd50a</a:t>
          </a:r>
          <a:endParaRPr lang="en-US" sz="2800" dirty="0"/>
        </a:p>
      </dgm:t>
    </dgm:pt>
    <dgm:pt modelId="{4AC58AD8-BD03-4B13-962C-A0B629E5B1CA}" type="parTrans" cxnId="{79BE3009-0684-4571-A964-B73467A2870F}">
      <dgm:prSet/>
      <dgm:spPr/>
      <dgm:t>
        <a:bodyPr/>
        <a:lstStyle/>
        <a:p>
          <a:endParaRPr lang="en-US" sz="2800"/>
        </a:p>
      </dgm:t>
    </dgm:pt>
    <dgm:pt modelId="{EC951130-7635-4D42-AF0B-E732C4BE7E6E}" type="sibTrans" cxnId="{79BE3009-0684-4571-A964-B73467A2870F}">
      <dgm:prSet/>
      <dgm:spPr/>
      <dgm:t>
        <a:bodyPr/>
        <a:lstStyle/>
        <a:p>
          <a:endParaRPr lang="en-US" sz="2800"/>
        </a:p>
      </dgm:t>
    </dgm:pt>
    <dgm:pt modelId="{DD98F0F4-0686-4A84-847C-21DCA3543595}">
      <dgm:prSet custT="1"/>
      <dgm:spPr/>
      <dgm:t>
        <a:bodyPr/>
        <a:lstStyle/>
        <a:p>
          <a:r>
            <a:rPr lang="en-US" sz="2800" baseline="0" dirty="0"/>
            <a:t>Repeat: Encrypt (‘123-45-6789’) = 0x17cfd50a</a:t>
          </a:r>
          <a:endParaRPr lang="en-US" sz="2800" dirty="0"/>
        </a:p>
      </dgm:t>
    </dgm:pt>
    <dgm:pt modelId="{C616EE99-E45D-40F7-A4DE-373CE6EDA976}" type="parTrans" cxnId="{97EA1200-CA42-4CF3-BC98-3DA480D45998}">
      <dgm:prSet/>
      <dgm:spPr/>
      <dgm:t>
        <a:bodyPr/>
        <a:lstStyle/>
        <a:p>
          <a:endParaRPr lang="en-US" sz="2800"/>
        </a:p>
      </dgm:t>
    </dgm:pt>
    <dgm:pt modelId="{039A8F74-FF99-4E1D-BA3F-1F37F5857B84}" type="sibTrans" cxnId="{97EA1200-CA42-4CF3-BC98-3DA480D45998}">
      <dgm:prSet/>
      <dgm:spPr/>
      <dgm:t>
        <a:bodyPr/>
        <a:lstStyle/>
        <a:p>
          <a:endParaRPr lang="en-US" sz="2800"/>
        </a:p>
      </dgm:t>
    </dgm:pt>
    <dgm:pt modelId="{20A88D8F-FE0C-4E0F-B121-ABA145EC7258}" type="pres">
      <dgm:prSet presAssocID="{D1652A35-7085-43EC-B9FA-3053B838E293}" presName="Name0" presStyleCnt="0">
        <dgm:presLayoutVars>
          <dgm:dir/>
          <dgm:animLvl val="lvl"/>
          <dgm:resizeHandles val="exact"/>
        </dgm:presLayoutVars>
      </dgm:prSet>
      <dgm:spPr/>
    </dgm:pt>
    <dgm:pt modelId="{80DE2781-5A32-4D35-B57D-1AA9B0B52160}" type="pres">
      <dgm:prSet presAssocID="{FFD0E221-8531-4B58-A677-8E6A155631ED}" presName="linNode" presStyleCnt="0"/>
      <dgm:spPr/>
    </dgm:pt>
    <dgm:pt modelId="{7DEA4895-6922-438E-872C-0271BF342164}" type="pres">
      <dgm:prSet presAssocID="{FFD0E221-8531-4B58-A677-8E6A155631ED}" presName="parTx" presStyleLbl="revTx" presStyleIdx="0" presStyleCnt="2">
        <dgm:presLayoutVars>
          <dgm:chMax val="1"/>
          <dgm:bulletEnabled val="1"/>
        </dgm:presLayoutVars>
      </dgm:prSet>
      <dgm:spPr/>
    </dgm:pt>
    <dgm:pt modelId="{EA84DBCB-411A-489A-8BFF-1C659C6DADF3}" type="pres">
      <dgm:prSet presAssocID="{FFD0E221-8531-4B58-A677-8E6A155631ED}" presName="bracket" presStyleLbl="parChTrans1D1" presStyleIdx="0" presStyleCnt="2"/>
      <dgm:spPr/>
    </dgm:pt>
    <dgm:pt modelId="{927FACB1-187D-4B1C-B634-901F9D6C8A23}" type="pres">
      <dgm:prSet presAssocID="{FFD0E221-8531-4B58-A677-8E6A155631ED}" presName="spH" presStyleCnt="0"/>
      <dgm:spPr/>
    </dgm:pt>
    <dgm:pt modelId="{53D9BE4E-E4D6-424E-9F61-C8B937AD3192}" type="pres">
      <dgm:prSet presAssocID="{FFD0E221-8531-4B58-A677-8E6A155631ED}" presName="desTx" presStyleLbl="node1" presStyleIdx="0" presStyleCnt="2">
        <dgm:presLayoutVars>
          <dgm:bulletEnabled val="1"/>
        </dgm:presLayoutVars>
      </dgm:prSet>
      <dgm:spPr/>
    </dgm:pt>
    <dgm:pt modelId="{2F50031E-9FC0-4F3C-916A-E0DAF3231FAF}" type="pres">
      <dgm:prSet presAssocID="{2937ACE3-3BFE-47B1-8E57-3CEB27448AF3}" presName="spV" presStyleCnt="0"/>
      <dgm:spPr/>
    </dgm:pt>
    <dgm:pt modelId="{8FAC40A3-0300-48A6-AA0F-EC853532ED43}" type="pres">
      <dgm:prSet presAssocID="{B30E3783-91C7-4A8A-8F85-A728FBC28991}" presName="linNode" presStyleCnt="0"/>
      <dgm:spPr/>
    </dgm:pt>
    <dgm:pt modelId="{A2E71D03-E925-49C5-9F53-45DBEB8DC6F8}" type="pres">
      <dgm:prSet presAssocID="{B30E3783-91C7-4A8A-8F85-A728FBC28991}" presName="parTx" presStyleLbl="revTx" presStyleIdx="1" presStyleCnt="2">
        <dgm:presLayoutVars>
          <dgm:chMax val="1"/>
          <dgm:bulletEnabled val="1"/>
        </dgm:presLayoutVars>
      </dgm:prSet>
      <dgm:spPr/>
    </dgm:pt>
    <dgm:pt modelId="{B04C8C7A-2CD6-4840-8A28-C625F7CBF6E1}" type="pres">
      <dgm:prSet presAssocID="{B30E3783-91C7-4A8A-8F85-A728FBC28991}" presName="bracket" presStyleLbl="parChTrans1D1" presStyleIdx="1" presStyleCnt="2"/>
      <dgm:spPr/>
    </dgm:pt>
    <dgm:pt modelId="{5C16706A-06DF-4743-8507-E8C61BFCA220}" type="pres">
      <dgm:prSet presAssocID="{B30E3783-91C7-4A8A-8F85-A728FBC28991}" presName="spH" presStyleCnt="0"/>
      <dgm:spPr/>
    </dgm:pt>
    <dgm:pt modelId="{6D317EF0-CD9D-4942-9CDC-F01CEDD46E3A}" type="pres">
      <dgm:prSet presAssocID="{B30E3783-91C7-4A8A-8F85-A728FBC28991}" presName="desTx" presStyleLbl="node1" presStyleIdx="1" presStyleCnt="2">
        <dgm:presLayoutVars>
          <dgm:bulletEnabled val="1"/>
        </dgm:presLayoutVars>
      </dgm:prSet>
      <dgm:spPr/>
    </dgm:pt>
  </dgm:ptLst>
  <dgm:cxnLst>
    <dgm:cxn modelId="{97EA1200-CA42-4CF3-BC98-3DA480D45998}" srcId="{B30E3783-91C7-4A8A-8F85-A728FBC28991}" destId="{DD98F0F4-0686-4A84-847C-21DCA3543595}" srcOrd="1" destOrd="0" parTransId="{C616EE99-E45D-40F7-A4DE-373CE6EDA976}" sibTransId="{039A8F74-FF99-4E1D-BA3F-1F37F5857B84}"/>
    <dgm:cxn modelId="{79BE3009-0684-4571-A964-B73467A2870F}" srcId="{B30E3783-91C7-4A8A-8F85-A728FBC28991}" destId="{6575F9A6-F307-4761-953F-D01EB9024B3C}" srcOrd="0" destOrd="0" parTransId="{4AC58AD8-BD03-4B13-962C-A0B629E5B1CA}" sibTransId="{EC951130-7635-4D42-AF0B-E732C4BE7E6E}"/>
    <dgm:cxn modelId="{6A43A416-BDEC-4104-BB93-33FECB550036}" srcId="{FFD0E221-8531-4B58-A677-8E6A155631ED}" destId="{E74EE592-79D5-435E-9001-76298CF81DF6}" srcOrd="1" destOrd="0" parTransId="{56C5A02A-C5E5-409D-91A9-87D9C7B9C67C}" sibTransId="{13336CDD-5FBB-4B99-9AB9-CE31D59FD658}"/>
    <dgm:cxn modelId="{DF22C21D-F489-4AD4-BE24-234E1FC0E8FC}" srcId="{D1652A35-7085-43EC-B9FA-3053B838E293}" destId="{FFD0E221-8531-4B58-A677-8E6A155631ED}" srcOrd="0" destOrd="0" parTransId="{A888ED6F-22A5-4CD6-92C6-DDAD4BD4B4A7}" sibTransId="{2937ACE3-3BFE-47B1-8E57-3CEB27448AF3}"/>
    <dgm:cxn modelId="{B62AD020-14DA-4C6F-B4D4-5193604C5F97}" srcId="{FFD0E221-8531-4B58-A677-8E6A155631ED}" destId="{1BA853AA-C0E7-4582-97FF-940AADFFDB68}" srcOrd="0" destOrd="0" parTransId="{F537B3A0-F0CE-43F9-A208-054169D95E07}" sibTransId="{43739201-CFC9-41FD-AC2B-70EECB16A299}"/>
    <dgm:cxn modelId="{23377521-8EDF-48A6-8D3F-A3BBF680F5EE}" type="presOf" srcId="{FFD0E221-8531-4B58-A677-8E6A155631ED}" destId="{7DEA4895-6922-438E-872C-0271BF342164}" srcOrd="0" destOrd="0" presId="urn:diagrams.loki3.com/BracketList"/>
    <dgm:cxn modelId="{71E35A29-2070-4CD0-AE09-53752AA415FE}" type="presOf" srcId="{1BA853AA-C0E7-4582-97FF-940AADFFDB68}" destId="{53D9BE4E-E4D6-424E-9F61-C8B937AD3192}" srcOrd="0" destOrd="0" presId="urn:diagrams.loki3.com/BracketList"/>
    <dgm:cxn modelId="{6959183D-23FA-420E-82E1-B27F3BCEADDD}" type="presOf" srcId="{E74EE592-79D5-435E-9001-76298CF81DF6}" destId="{53D9BE4E-E4D6-424E-9F61-C8B937AD3192}" srcOrd="0" destOrd="1" presId="urn:diagrams.loki3.com/BracketList"/>
    <dgm:cxn modelId="{6C23945B-B3E1-4976-A814-3EE1457FB8FF}" type="presOf" srcId="{DD98F0F4-0686-4A84-847C-21DCA3543595}" destId="{6D317EF0-CD9D-4942-9CDC-F01CEDD46E3A}" srcOrd="0" destOrd="1" presId="urn:diagrams.loki3.com/BracketList"/>
    <dgm:cxn modelId="{82D7536D-055E-4EDE-9CF6-4909B3A5B3E8}" type="presOf" srcId="{6575F9A6-F307-4761-953F-D01EB9024B3C}" destId="{6D317EF0-CD9D-4942-9CDC-F01CEDD46E3A}" srcOrd="0" destOrd="0" presId="urn:diagrams.loki3.com/BracketList"/>
    <dgm:cxn modelId="{F05FB774-29EE-4F82-8703-86423F7F3C9D}" type="presOf" srcId="{D1652A35-7085-43EC-B9FA-3053B838E293}" destId="{20A88D8F-FE0C-4E0F-B121-ABA145EC7258}" srcOrd="0" destOrd="0" presId="urn:diagrams.loki3.com/BracketList"/>
    <dgm:cxn modelId="{DCED2B94-3707-46CD-8631-97C6BEE38583}" type="presOf" srcId="{B30E3783-91C7-4A8A-8F85-A728FBC28991}" destId="{A2E71D03-E925-49C5-9F53-45DBEB8DC6F8}" srcOrd="0" destOrd="0" presId="urn:diagrams.loki3.com/BracketList"/>
    <dgm:cxn modelId="{7ED681B7-034B-49EC-A962-2A64F8C73B37}" srcId="{D1652A35-7085-43EC-B9FA-3053B838E293}" destId="{B30E3783-91C7-4A8A-8F85-A728FBC28991}" srcOrd="1" destOrd="0" parTransId="{94FE3C12-EBBC-43A9-AC5A-D0C62C867321}" sibTransId="{AABC8376-4A9F-4742-B1B5-07DC00D183B5}"/>
    <dgm:cxn modelId="{8F19E875-16EE-464D-A2CB-193A6C3FFB70}" type="presParOf" srcId="{20A88D8F-FE0C-4E0F-B121-ABA145EC7258}" destId="{80DE2781-5A32-4D35-B57D-1AA9B0B52160}" srcOrd="0" destOrd="0" presId="urn:diagrams.loki3.com/BracketList"/>
    <dgm:cxn modelId="{43AB2252-2B26-4E8F-8001-3C9C3AD2CB7A}" type="presParOf" srcId="{80DE2781-5A32-4D35-B57D-1AA9B0B52160}" destId="{7DEA4895-6922-438E-872C-0271BF342164}" srcOrd="0" destOrd="0" presId="urn:diagrams.loki3.com/BracketList"/>
    <dgm:cxn modelId="{22C5C615-CE5A-424D-8E5E-6AF13B86FCDD}" type="presParOf" srcId="{80DE2781-5A32-4D35-B57D-1AA9B0B52160}" destId="{EA84DBCB-411A-489A-8BFF-1C659C6DADF3}" srcOrd="1" destOrd="0" presId="urn:diagrams.loki3.com/BracketList"/>
    <dgm:cxn modelId="{BB60A88A-BA29-4EC3-82CD-DC734DD813C9}" type="presParOf" srcId="{80DE2781-5A32-4D35-B57D-1AA9B0B52160}" destId="{927FACB1-187D-4B1C-B634-901F9D6C8A23}" srcOrd="2" destOrd="0" presId="urn:diagrams.loki3.com/BracketList"/>
    <dgm:cxn modelId="{1C1F57A3-04B7-46A7-A60E-CCE8B333155D}" type="presParOf" srcId="{80DE2781-5A32-4D35-B57D-1AA9B0B52160}" destId="{53D9BE4E-E4D6-424E-9F61-C8B937AD3192}" srcOrd="3" destOrd="0" presId="urn:diagrams.loki3.com/BracketList"/>
    <dgm:cxn modelId="{BC76A649-EDE6-449E-97A3-48EF426A7790}" type="presParOf" srcId="{20A88D8F-FE0C-4E0F-B121-ABA145EC7258}" destId="{2F50031E-9FC0-4F3C-916A-E0DAF3231FAF}" srcOrd="1" destOrd="0" presId="urn:diagrams.loki3.com/BracketList"/>
    <dgm:cxn modelId="{5F03EE99-F0F1-403E-8D23-719A6B4FBA5C}" type="presParOf" srcId="{20A88D8F-FE0C-4E0F-B121-ABA145EC7258}" destId="{8FAC40A3-0300-48A6-AA0F-EC853532ED43}" srcOrd="2" destOrd="0" presId="urn:diagrams.loki3.com/BracketList"/>
    <dgm:cxn modelId="{08F8970B-93BC-4026-AB55-1E0A63601E31}" type="presParOf" srcId="{8FAC40A3-0300-48A6-AA0F-EC853532ED43}" destId="{A2E71D03-E925-49C5-9F53-45DBEB8DC6F8}" srcOrd="0" destOrd="0" presId="urn:diagrams.loki3.com/BracketList"/>
    <dgm:cxn modelId="{4FDC6DE3-1A82-4CA0-8BFC-43BE282FBE46}" type="presParOf" srcId="{8FAC40A3-0300-48A6-AA0F-EC853532ED43}" destId="{B04C8C7A-2CD6-4840-8A28-C625F7CBF6E1}" srcOrd="1" destOrd="0" presId="urn:diagrams.loki3.com/BracketList"/>
    <dgm:cxn modelId="{9835F940-EBF8-4668-8C9C-CD790A1CD60E}" type="presParOf" srcId="{8FAC40A3-0300-48A6-AA0F-EC853532ED43}" destId="{5C16706A-06DF-4743-8507-E8C61BFCA220}" srcOrd="2" destOrd="0" presId="urn:diagrams.loki3.com/BracketList"/>
    <dgm:cxn modelId="{A0BC66CA-7FC9-4D2F-83BA-47673BB3A06C}" type="presParOf" srcId="{8FAC40A3-0300-48A6-AA0F-EC853532ED43}" destId="{6D317EF0-CD9D-4942-9CDC-F01CEDD46E3A}"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88ABFEC8-0C42-49BE-963D-E4C2874E069A}"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BD35DBA4-3CB2-445A-81FB-D867F3DFB60A}">
      <dgm:prSet/>
      <dgm:spPr/>
      <dgm:t>
        <a:bodyPr/>
        <a:lstStyle/>
        <a:p>
          <a:r>
            <a:rPr lang="en-US" dirty="0"/>
            <a:t>Always Encrypted uses the AEAD_AES_256_CBC_HMAC_SHA_256 algorithm to encrypt data in the database</a:t>
          </a:r>
        </a:p>
      </dgm:t>
    </dgm:pt>
    <dgm:pt modelId="{0B7F6E64-394A-43AA-AD6D-35EFF0A1FDAE}" type="parTrans" cxnId="{3C611331-0D02-495E-9B11-C801058AFAB2}">
      <dgm:prSet/>
      <dgm:spPr/>
      <dgm:t>
        <a:bodyPr/>
        <a:lstStyle/>
        <a:p>
          <a:endParaRPr lang="en-US"/>
        </a:p>
      </dgm:t>
    </dgm:pt>
    <dgm:pt modelId="{368131C9-0E47-4EE8-B8B7-408CC6697835}" type="sibTrans" cxnId="{3C611331-0D02-495E-9B11-C801058AFAB2}">
      <dgm:prSet/>
      <dgm:spPr/>
      <dgm:t>
        <a:bodyPr/>
        <a:lstStyle/>
        <a:p>
          <a:endParaRPr lang="en-US"/>
        </a:p>
      </dgm:t>
    </dgm:pt>
    <dgm:pt modelId="{5F0814B2-8EBD-4814-A9FD-CC1DB02D5AB7}">
      <dgm:prSet/>
      <dgm:spPr/>
      <dgm:t>
        <a:bodyPr/>
        <a:lstStyle/>
        <a:p>
          <a:r>
            <a:rPr lang="en-US"/>
            <a:t>Ciphertext length varies depends on the data type</a:t>
          </a:r>
        </a:p>
      </dgm:t>
    </dgm:pt>
    <dgm:pt modelId="{3EC4052D-8859-4A99-98B0-76AE4A8E9164}" type="parTrans" cxnId="{C0928C3E-E956-4335-BEE1-24A4F8680185}">
      <dgm:prSet/>
      <dgm:spPr/>
      <dgm:t>
        <a:bodyPr/>
        <a:lstStyle/>
        <a:p>
          <a:endParaRPr lang="en-US"/>
        </a:p>
      </dgm:t>
    </dgm:pt>
    <dgm:pt modelId="{A43E0F15-82B4-4A67-902E-4295089746D4}" type="sibTrans" cxnId="{C0928C3E-E956-4335-BEE1-24A4F8680185}">
      <dgm:prSet/>
      <dgm:spPr/>
      <dgm:t>
        <a:bodyPr/>
        <a:lstStyle/>
        <a:p>
          <a:endParaRPr lang="en-US"/>
        </a:p>
      </dgm:t>
    </dgm:pt>
    <dgm:pt modelId="{A62F99DE-E280-4049-B1D9-D94CB6043948}" type="pres">
      <dgm:prSet presAssocID="{88ABFEC8-0C42-49BE-963D-E4C2874E069A}" presName="root" presStyleCnt="0">
        <dgm:presLayoutVars>
          <dgm:dir/>
          <dgm:resizeHandles val="exact"/>
        </dgm:presLayoutVars>
      </dgm:prSet>
      <dgm:spPr/>
    </dgm:pt>
    <dgm:pt modelId="{98B23A79-F89E-4F24-977C-E79B37D9D2D4}" type="pres">
      <dgm:prSet presAssocID="{BD35DBA4-3CB2-445A-81FB-D867F3DFB60A}" presName="compNode" presStyleCnt="0"/>
      <dgm:spPr/>
    </dgm:pt>
    <dgm:pt modelId="{4C2C2FCE-6EB0-4C96-9930-D72458DCB76A}" type="pres">
      <dgm:prSet presAssocID="{BD35DBA4-3CB2-445A-81FB-D867F3DFB60A}" presName="bgRect" presStyleLbl="bgShp" presStyleIdx="0" presStyleCnt="2"/>
      <dgm:spPr/>
    </dgm:pt>
    <dgm:pt modelId="{28345DF1-9FC5-4EB6-9C02-2374998C02EE}" type="pres">
      <dgm:prSet presAssocID="{BD35DBA4-3CB2-445A-81FB-D867F3DFB60A}"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rocessor"/>
        </a:ext>
      </dgm:extLst>
    </dgm:pt>
    <dgm:pt modelId="{EEB965A8-12AA-4820-AE33-BB4441A84553}" type="pres">
      <dgm:prSet presAssocID="{BD35DBA4-3CB2-445A-81FB-D867F3DFB60A}" presName="spaceRect" presStyleCnt="0"/>
      <dgm:spPr/>
    </dgm:pt>
    <dgm:pt modelId="{7DFF30FE-D08C-429E-8E22-88F9C16AF1F5}" type="pres">
      <dgm:prSet presAssocID="{BD35DBA4-3CB2-445A-81FB-D867F3DFB60A}" presName="parTx" presStyleLbl="revTx" presStyleIdx="0" presStyleCnt="2">
        <dgm:presLayoutVars>
          <dgm:chMax val="0"/>
          <dgm:chPref val="0"/>
        </dgm:presLayoutVars>
      </dgm:prSet>
      <dgm:spPr/>
    </dgm:pt>
    <dgm:pt modelId="{16D50EAB-A345-42C9-9181-05E09EA04A27}" type="pres">
      <dgm:prSet presAssocID="{368131C9-0E47-4EE8-B8B7-408CC6697835}" presName="sibTrans" presStyleCnt="0"/>
      <dgm:spPr/>
    </dgm:pt>
    <dgm:pt modelId="{29B12FF4-93E5-48DD-8924-4EFF04A00D0D}" type="pres">
      <dgm:prSet presAssocID="{5F0814B2-8EBD-4814-A9FD-CC1DB02D5AB7}" presName="compNode" presStyleCnt="0"/>
      <dgm:spPr/>
    </dgm:pt>
    <dgm:pt modelId="{71278F28-C4D9-4153-B891-9C8C5B8BADC2}" type="pres">
      <dgm:prSet presAssocID="{5F0814B2-8EBD-4814-A9FD-CC1DB02D5AB7}" presName="bgRect" presStyleLbl="bgShp" presStyleIdx="1" presStyleCnt="2"/>
      <dgm:spPr/>
    </dgm:pt>
    <dgm:pt modelId="{3CC87A88-551E-4272-B70E-F9752AD1B432}" type="pres">
      <dgm:prSet presAssocID="{5F0814B2-8EBD-4814-A9FD-CC1DB02D5AB7}"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Ruler"/>
        </a:ext>
      </dgm:extLst>
    </dgm:pt>
    <dgm:pt modelId="{D0B14C47-64C7-4B63-AF64-2C6CEE331034}" type="pres">
      <dgm:prSet presAssocID="{5F0814B2-8EBD-4814-A9FD-CC1DB02D5AB7}" presName="spaceRect" presStyleCnt="0"/>
      <dgm:spPr/>
    </dgm:pt>
    <dgm:pt modelId="{0585D174-F583-42FD-8618-84136D49E6EE}" type="pres">
      <dgm:prSet presAssocID="{5F0814B2-8EBD-4814-A9FD-CC1DB02D5AB7}" presName="parTx" presStyleLbl="revTx" presStyleIdx="1" presStyleCnt="2">
        <dgm:presLayoutVars>
          <dgm:chMax val="0"/>
          <dgm:chPref val="0"/>
        </dgm:presLayoutVars>
      </dgm:prSet>
      <dgm:spPr/>
    </dgm:pt>
  </dgm:ptLst>
  <dgm:cxnLst>
    <dgm:cxn modelId="{CBF76C1E-38E5-4CBA-A835-C4796209DD08}" type="presOf" srcId="{5F0814B2-8EBD-4814-A9FD-CC1DB02D5AB7}" destId="{0585D174-F583-42FD-8618-84136D49E6EE}" srcOrd="0" destOrd="0" presId="urn:microsoft.com/office/officeart/2018/2/layout/IconVerticalSolidList"/>
    <dgm:cxn modelId="{19F06B23-CA2B-4F17-AE9C-1D2A3A8C3C01}" type="presOf" srcId="{BD35DBA4-3CB2-445A-81FB-D867F3DFB60A}" destId="{7DFF30FE-D08C-429E-8E22-88F9C16AF1F5}" srcOrd="0" destOrd="0" presId="urn:microsoft.com/office/officeart/2018/2/layout/IconVerticalSolidList"/>
    <dgm:cxn modelId="{8C2B7225-5034-45A0-8260-8B777F37333A}" type="presOf" srcId="{88ABFEC8-0C42-49BE-963D-E4C2874E069A}" destId="{A62F99DE-E280-4049-B1D9-D94CB6043948}" srcOrd="0" destOrd="0" presId="urn:microsoft.com/office/officeart/2018/2/layout/IconVerticalSolidList"/>
    <dgm:cxn modelId="{3C611331-0D02-495E-9B11-C801058AFAB2}" srcId="{88ABFEC8-0C42-49BE-963D-E4C2874E069A}" destId="{BD35DBA4-3CB2-445A-81FB-D867F3DFB60A}" srcOrd="0" destOrd="0" parTransId="{0B7F6E64-394A-43AA-AD6D-35EFF0A1FDAE}" sibTransId="{368131C9-0E47-4EE8-B8B7-408CC6697835}"/>
    <dgm:cxn modelId="{C0928C3E-E956-4335-BEE1-24A4F8680185}" srcId="{88ABFEC8-0C42-49BE-963D-E4C2874E069A}" destId="{5F0814B2-8EBD-4814-A9FD-CC1DB02D5AB7}" srcOrd="1" destOrd="0" parTransId="{3EC4052D-8859-4A99-98B0-76AE4A8E9164}" sibTransId="{A43E0F15-82B4-4A67-902E-4295089746D4}"/>
    <dgm:cxn modelId="{DA696A37-08D4-4840-A53A-8E118470D5CC}" type="presParOf" srcId="{A62F99DE-E280-4049-B1D9-D94CB6043948}" destId="{98B23A79-F89E-4F24-977C-E79B37D9D2D4}" srcOrd="0" destOrd="0" presId="urn:microsoft.com/office/officeart/2018/2/layout/IconVerticalSolidList"/>
    <dgm:cxn modelId="{1139D22B-5FD8-4693-894E-063D703BEDD5}" type="presParOf" srcId="{98B23A79-F89E-4F24-977C-E79B37D9D2D4}" destId="{4C2C2FCE-6EB0-4C96-9930-D72458DCB76A}" srcOrd="0" destOrd="0" presId="urn:microsoft.com/office/officeart/2018/2/layout/IconVerticalSolidList"/>
    <dgm:cxn modelId="{C8793667-41A3-4AEF-9EAE-8A4F868DA7FD}" type="presParOf" srcId="{98B23A79-F89E-4F24-977C-E79B37D9D2D4}" destId="{28345DF1-9FC5-4EB6-9C02-2374998C02EE}" srcOrd="1" destOrd="0" presId="urn:microsoft.com/office/officeart/2018/2/layout/IconVerticalSolidList"/>
    <dgm:cxn modelId="{CB9629D3-26CD-4D02-9093-0A6A5363D98C}" type="presParOf" srcId="{98B23A79-F89E-4F24-977C-E79B37D9D2D4}" destId="{EEB965A8-12AA-4820-AE33-BB4441A84553}" srcOrd="2" destOrd="0" presId="urn:microsoft.com/office/officeart/2018/2/layout/IconVerticalSolidList"/>
    <dgm:cxn modelId="{B41056AB-AC83-4477-B3D8-53365ACD1DEC}" type="presParOf" srcId="{98B23A79-F89E-4F24-977C-E79B37D9D2D4}" destId="{7DFF30FE-D08C-429E-8E22-88F9C16AF1F5}" srcOrd="3" destOrd="0" presId="urn:microsoft.com/office/officeart/2018/2/layout/IconVerticalSolidList"/>
    <dgm:cxn modelId="{19E12A1B-1740-4504-8C9F-0CD280F7D43A}" type="presParOf" srcId="{A62F99DE-E280-4049-B1D9-D94CB6043948}" destId="{16D50EAB-A345-42C9-9181-05E09EA04A27}" srcOrd="1" destOrd="0" presId="urn:microsoft.com/office/officeart/2018/2/layout/IconVerticalSolidList"/>
    <dgm:cxn modelId="{0760DB86-073C-4737-A840-1B6B2A8AFB47}" type="presParOf" srcId="{A62F99DE-E280-4049-B1D9-D94CB6043948}" destId="{29B12FF4-93E5-48DD-8924-4EFF04A00D0D}" srcOrd="2" destOrd="0" presId="urn:microsoft.com/office/officeart/2018/2/layout/IconVerticalSolidList"/>
    <dgm:cxn modelId="{42FE62F3-5A9A-4224-A223-42FBA03A5011}" type="presParOf" srcId="{29B12FF4-93E5-48DD-8924-4EFF04A00D0D}" destId="{71278F28-C4D9-4153-B891-9C8C5B8BADC2}" srcOrd="0" destOrd="0" presId="urn:microsoft.com/office/officeart/2018/2/layout/IconVerticalSolidList"/>
    <dgm:cxn modelId="{9EF98D8A-3C4A-4417-A908-6FF8388A0690}" type="presParOf" srcId="{29B12FF4-93E5-48DD-8924-4EFF04A00D0D}" destId="{3CC87A88-551E-4272-B70E-F9752AD1B432}" srcOrd="1" destOrd="0" presId="urn:microsoft.com/office/officeart/2018/2/layout/IconVerticalSolidList"/>
    <dgm:cxn modelId="{609BB6C1-C2AE-40AC-93E4-F2023DFD26AE}" type="presParOf" srcId="{29B12FF4-93E5-48DD-8924-4EFF04A00D0D}" destId="{D0B14C47-64C7-4B63-AF64-2C6CEE331034}" srcOrd="2" destOrd="0" presId="urn:microsoft.com/office/officeart/2018/2/layout/IconVerticalSolidList"/>
    <dgm:cxn modelId="{31D438D0-0895-45B3-882A-663A38914BFC}" type="presParOf" srcId="{29B12FF4-93E5-48DD-8924-4EFF04A00D0D}" destId="{0585D174-F583-42FD-8618-84136D49E6EE}"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65B295C3-FC73-4082-ABA0-1D4D7FAA2A0E}"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399D9B23-168B-40F7-A9D4-45C7E3BCB1F9}">
      <dgm:prSet/>
      <dgm:spPr/>
      <dgm:t>
        <a:bodyPr/>
        <a:lstStyle/>
        <a:p>
          <a:pPr>
            <a:lnSpc>
              <a:spcPct val="100000"/>
            </a:lnSpc>
          </a:pPr>
          <a:r>
            <a:rPr lang="en-US" baseline="0" dirty="0"/>
            <a:t>Use designated user accounts with this option for long-running workloads</a:t>
          </a:r>
          <a:endParaRPr lang="en-US" dirty="0"/>
        </a:p>
      </dgm:t>
    </dgm:pt>
    <dgm:pt modelId="{4FDEDA51-6600-48EC-A470-2DF41E137384}" type="parTrans" cxnId="{D81A3891-A37A-4999-A7C2-03800024E18E}">
      <dgm:prSet/>
      <dgm:spPr/>
      <dgm:t>
        <a:bodyPr/>
        <a:lstStyle/>
        <a:p>
          <a:endParaRPr lang="en-US"/>
        </a:p>
      </dgm:t>
    </dgm:pt>
    <dgm:pt modelId="{A713E2F6-38C3-490D-B26B-C186B4FFB7DF}" type="sibTrans" cxnId="{D81A3891-A37A-4999-A7C2-03800024E18E}">
      <dgm:prSet/>
      <dgm:spPr/>
      <dgm:t>
        <a:bodyPr/>
        <a:lstStyle/>
        <a:p>
          <a:endParaRPr lang="en-US"/>
        </a:p>
      </dgm:t>
    </dgm:pt>
    <dgm:pt modelId="{0260AEAE-4781-42BE-99EE-171501658926}">
      <dgm:prSet/>
      <dgm:spPr/>
      <dgm:t>
        <a:bodyPr/>
        <a:lstStyle/>
        <a:p>
          <a:pPr>
            <a:lnSpc>
              <a:spcPct val="100000"/>
            </a:lnSpc>
          </a:pPr>
          <a:r>
            <a:rPr lang="en-US" baseline="0"/>
            <a:t>Short-running bulk copy operations that move data without decrypting it, set option to ON and back to OFF after completion</a:t>
          </a:r>
          <a:endParaRPr lang="en-US"/>
        </a:p>
      </dgm:t>
    </dgm:pt>
    <dgm:pt modelId="{B39EE4A5-8014-452A-A738-2B22DAF2B52A}" type="parTrans" cxnId="{79211CB7-4CAE-4572-8B30-CD1A7BF77860}">
      <dgm:prSet/>
      <dgm:spPr/>
      <dgm:t>
        <a:bodyPr/>
        <a:lstStyle/>
        <a:p>
          <a:endParaRPr lang="en-US"/>
        </a:p>
      </dgm:t>
    </dgm:pt>
    <dgm:pt modelId="{18CF2EC7-D9C1-4241-962D-15C93068C7F2}" type="sibTrans" cxnId="{79211CB7-4CAE-4572-8B30-CD1A7BF77860}">
      <dgm:prSet/>
      <dgm:spPr/>
      <dgm:t>
        <a:bodyPr/>
        <a:lstStyle/>
        <a:p>
          <a:endParaRPr lang="en-US"/>
        </a:p>
      </dgm:t>
    </dgm:pt>
    <dgm:pt modelId="{D0A11496-0E86-4F71-8B0B-A6D859693624}">
      <dgm:prSet/>
      <dgm:spPr/>
      <dgm:t>
        <a:bodyPr/>
        <a:lstStyle/>
        <a:p>
          <a:pPr>
            <a:lnSpc>
              <a:spcPct val="100000"/>
            </a:lnSpc>
          </a:pPr>
          <a:r>
            <a:rPr lang="en-US" baseline="0"/>
            <a:t>Do not use this option for new applications, use client drivers that offers API for suppressing cryptographic metadata checks</a:t>
          </a:r>
          <a:endParaRPr lang="en-US"/>
        </a:p>
      </dgm:t>
    </dgm:pt>
    <dgm:pt modelId="{D58DE4F4-BD9F-4982-9D69-8A0F64A160FD}" type="parTrans" cxnId="{5641A83B-0B8E-4E1B-B689-FCBAD7713CF4}">
      <dgm:prSet/>
      <dgm:spPr/>
      <dgm:t>
        <a:bodyPr/>
        <a:lstStyle/>
        <a:p>
          <a:endParaRPr lang="en-US"/>
        </a:p>
      </dgm:t>
    </dgm:pt>
    <dgm:pt modelId="{CCBD91C7-B9D3-40FA-8E6A-BABC000101F4}" type="sibTrans" cxnId="{5641A83B-0B8E-4E1B-B689-FCBAD7713CF4}">
      <dgm:prSet/>
      <dgm:spPr/>
      <dgm:t>
        <a:bodyPr/>
        <a:lstStyle/>
        <a:p>
          <a:endParaRPr lang="en-US"/>
        </a:p>
      </dgm:t>
    </dgm:pt>
    <dgm:pt modelId="{422A87AA-30F0-4780-997A-F8E5859291F4}" type="pres">
      <dgm:prSet presAssocID="{65B295C3-FC73-4082-ABA0-1D4D7FAA2A0E}" presName="root" presStyleCnt="0">
        <dgm:presLayoutVars>
          <dgm:dir/>
          <dgm:resizeHandles val="exact"/>
        </dgm:presLayoutVars>
      </dgm:prSet>
      <dgm:spPr/>
    </dgm:pt>
    <dgm:pt modelId="{D14DA065-050C-4075-8A1F-D9603D680442}" type="pres">
      <dgm:prSet presAssocID="{399D9B23-168B-40F7-A9D4-45C7E3BCB1F9}" presName="compNode" presStyleCnt="0"/>
      <dgm:spPr/>
    </dgm:pt>
    <dgm:pt modelId="{5A121F13-F451-4A97-9C58-D93EB270D134}" type="pres">
      <dgm:prSet presAssocID="{399D9B23-168B-40F7-A9D4-45C7E3BCB1F9}" presName="bgRect" presStyleLbl="bgShp" presStyleIdx="0" presStyleCnt="3"/>
      <dgm:spPr/>
    </dgm:pt>
    <dgm:pt modelId="{EE00289B-ECB8-419D-811A-7EFDDF8A34DA}" type="pres">
      <dgm:prSet presAssocID="{399D9B23-168B-40F7-A9D4-45C7E3BCB1F9}"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
        </a:ext>
      </dgm:extLst>
    </dgm:pt>
    <dgm:pt modelId="{9D44A2B9-5329-4C7B-8F1F-FB15BE06EA23}" type="pres">
      <dgm:prSet presAssocID="{399D9B23-168B-40F7-A9D4-45C7E3BCB1F9}" presName="spaceRect" presStyleCnt="0"/>
      <dgm:spPr/>
    </dgm:pt>
    <dgm:pt modelId="{43C419C8-2560-4B9B-B8DF-49EF4FD90FF0}" type="pres">
      <dgm:prSet presAssocID="{399D9B23-168B-40F7-A9D4-45C7E3BCB1F9}" presName="parTx" presStyleLbl="revTx" presStyleIdx="0" presStyleCnt="3">
        <dgm:presLayoutVars>
          <dgm:chMax val="0"/>
          <dgm:chPref val="0"/>
        </dgm:presLayoutVars>
      </dgm:prSet>
      <dgm:spPr/>
    </dgm:pt>
    <dgm:pt modelId="{AC1BD87C-53AE-4611-8799-7BE833C7C8CD}" type="pres">
      <dgm:prSet presAssocID="{A713E2F6-38C3-490D-B26B-C186B4FFB7DF}" presName="sibTrans" presStyleCnt="0"/>
      <dgm:spPr/>
    </dgm:pt>
    <dgm:pt modelId="{2D91DC10-75BB-4ABC-9F19-93C3BD933691}" type="pres">
      <dgm:prSet presAssocID="{0260AEAE-4781-42BE-99EE-171501658926}" presName="compNode" presStyleCnt="0"/>
      <dgm:spPr/>
    </dgm:pt>
    <dgm:pt modelId="{F11DFAF5-CBA7-4B8D-A39F-176DCA91368D}" type="pres">
      <dgm:prSet presAssocID="{0260AEAE-4781-42BE-99EE-171501658926}" presName="bgRect" presStyleLbl="bgShp" presStyleIdx="1" presStyleCnt="3"/>
      <dgm:spPr/>
    </dgm:pt>
    <dgm:pt modelId="{863F00F5-4C54-47FE-B3A8-0C6A1845F396}" type="pres">
      <dgm:prSet presAssocID="{0260AEAE-4781-42BE-99EE-171501658926}"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Toggle"/>
        </a:ext>
      </dgm:extLst>
    </dgm:pt>
    <dgm:pt modelId="{C27C2182-D5BF-42A7-A04C-55705EBFCE88}" type="pres">
      <dgm:prSet presAssocID="{0260AEAE-4781-42BE-99EE-171501658926}" presName="spaceRect" presStyleCnt="0"/>
      <dgm:spPr/>
    </dgm:pt>
    <dgm:pt modelId="{2A27F36A-CA93-4264-921D-5C622A087D54}" type="pres">
      <dgm:prSet presAssocID="{0260AEAE-4781-42BE-99EE-171501658926}" presName="parTx" presStyleLbl="revTx" presStyleIdx="1" presStyleCnt="3">
        <dgm:presLayoutVars>
          <dgm:chMax val="0"/>
          <dgm:chPref val="0"/>
        </dgm:presLayoutVars>
      </dgm:prSet>
      <dgm:spPr/>
    </dgm:pt>
    <dgm:pt modelId="{70FFB64F-26C8-4EEE-905B-1CDB683212C4}" type="pres">
      <dgm:prSet presAssocID="{18CF2EC7-D9C1-4241-962D-15C93068C7F2}" presName="sibTrans" presStyleCnt="0"/>
      <dgm:spPr/>
    </dgm:pt>
    <dgm:pt modelId="{5852E385-EA25-48E1-B79C-A4AB8EE59F14}" type="pres">
      <dgm:prSet presAssocID="{D0A11496-0E86-4F71-8B0B-A6D859693624}" presName="compNode" presStyleCnt="0"/>
      <dgm:spPr/>
    </dgm:pt>
    <dgm:pt modelId="{45A59FE9-0A29-4A1F-9D89-DE45CFA01180}" type="pres">
      <dgm:prSet presAssocID="{D0A11496-0E86-4F71-8B0B-A6D859693624}" presName="bgRect" presStyleLbl="bgShp" presStyleIdx="2" presStyleCnt="3"/>
      <dgm:spPr/>
    </dgm:pt>
    <dgm:pt modelId="{3911B59A-8FA0-43B3-AC00-A213FB709256}" type="pres">
      <dgm:prSet presAssocID="{D0A11496-0E86-4F71-8B0B-A6D859693624}"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Construction Barricade"/>
        </a:ext>
      </dgm:extLst>
    </dgm:pt>
    <dgm:pt modelId="{486C50A1-7F41-473F-9B29-A401F0CE7A93}" type="pres">
      <dgm:prSet presAssocID="{D0A11496-0E86-4F71-8B0B-A6D859693624}" presName="spaceRect" presStyleCnt="0"/>
      <dgm:spPr/>
    </dgm:pt>
    <dgm:pt modelId="{78AB9A7B-99C6-4724-A686-6CF8E6E03034}" type="pres">
      <dgm:prSet presAssocID="{D0A11496-0E86-4F71-8B0B-A6D859693624}" presName="parTx" presStyleLbl="revTx" presStyleIdx="2" presStyleCnt="3">
        <dgm:presLayoutVars>
          <dgm:chMax val="0"/>
          <dgm:chPref val="0"/>
        </dgm:presLayoutVars>
      </dgm:prSet>
      <dgm:spPr/>
    </dgm:pt>
  </dgm:ptLst>
  <dgm:cxnLst>
    <dgm:cxn modelId="{7F168E36-3591-4225-B0BB-2E21EAD32A76}" type="presOf" srcId="{399D9B23-168B-40F7-A9D4-45C7E3BCB1F9}" destId="{43C419C8-2560-4B9B-B8DF-49EF4FD90FF0}" srcOrd="0" destOrd="0" presId="urn:microsoft.com/office/officeart/2018/2/layout/IconVerticalSolidList"/>
    <dgm:cxn modelId="{5641A83B-0B8E-4E1B-B689-FCBAD7713CF4}" srcId="{65B295C3-FC73-4082-ABA0-1D4D7FAA2A0E}" destId="{D0A11496-0E86-4F71-8B0B-A6D859693624}" srcOrd="2" destOrd="0" parTransId="{D58DE4F4-BD9F-4982-9D69-8A0F64A160FD}" sibTransId="{CCBD91C7-B9D3-40FA-8E6A-BABC000101F4}"/>
    <dgm:cxn modelId="{D81A3891-A37A-4999-A7C2-03800024E18E}" srcId="{65B295C3-FC73-4082-ABA0-1D4D7FAA2A0E}" destId="{399D9B23-168B-40F7-A9D4-45C7E3BCB1F9}" srcOrd="0" destOrd="0" parTransId="{4FDEDA51-6600-48EC-A470-2DF41E137384}" sibTransId="{A713E2F6-38C3-490D-B26B-C186B4FFB7DF}"/>
    <dgm:cxn modelId="{4A3F21AA-2948-4A68-B005-E9A5955A6F59}" type="presOf" srcId="{D0A11496-0E86-4F71-8B0B-A6D859693624}" destId="{78AB9A7B-99C6-4724-A686-6CF8E6E03034}" srcOrd="0" destOrd="0" presId="urn:microsoft.com/office/officeart/2018/2/layout/IconVerticalSolidList"/>
    <dgm:cxn modelId="{79211CB7-4CAE-4572-8B30-CD1A7BF77860}" srcId="{65B295C3-FC73-4082-ABA0-1D4D7FAA2A0E}" destId="{0260AEAE-4781-42BE-99EE-171501658926}" srcOrd="1" destOrd="0" parTransId="{B39EE4A5-8014-452A-A738-2B22DAF2B52A}" sibTransId="{18CF2EC7-D9C1-4241-962D-15C93068C7F2}"/>
    <dgm:cxn modelId="{0F4A13B8-EE81-4BDB-A5C3-9E637807E9A9}" type="presOf" srcId="{0260AEAE-4781-42BE-99EE-171501658926}" destId="{2A27F36A-CA93-4264-921D-5C622A087D54}" srcOrd="0" destOrd="0" presId="urn:microsoft.com/office/officeart/2018/2/layout/IconVerticalSolidList"/>
    <dgm:cxn modelId="{A693D6E9-77DF-4705-AA54-00273784978A}" type="presOf" srcId="{65B295C3-FC73-4082-ABA0-1D4D7FAA2A0E}" destId="{422A87AA-30F0-4780-997A-F8E5859291F4}" srcOrd="0" destOrd="0" presId="urn:microsoft.com/office/officeart/2018/2/layout/IconVerticalSolidList"/>
    <dgm:cxn modelId="{6DA4FD5E-226E-444F-B254-08E312699435}" type="presParOf" srcId="{422A87AA-30F0-4780-997A-F8E5859291F4}" destId="{D14DA065-050C-4075-8A1F-D9603D680442}" srcOrd="0" destOrd="0" presId="urn:microsoft.com/office/officeart/2018/2/layout/IconVerticalSolidList"/>
    <dgm:cxn modelId="{CB92879A-899E-49E2-8202-F67D89EC94E5}" type="presParOf" srcId="{D14DA065-050C-4075-8A1F-D9603D680442}" destId="{5A121F13-F451-4A97-9C58-D93EB270D134}" srcOrd="0" destOrd="0" presId="urn:microsoft.com/office/officeart/2018/2/layout/IconVerticalSolidList"/>
    <dgm:cxn modelId="{97855F80-1F95-4BE2-B598-D5B068F27B99}" type="presParOf" srcId="{D14DA065-050C-4075-8A1F-D9603D680442}" destId="{EE00289B-ECB8-419D-811A-7EFDDF8A34DA}" srcOrd="1" destOrd="0" presId="urn:microsoft.com/office/officeart/2018/2/layout/IconVerticalSolidList"/>
    <dgm:cxn modelId="{EAB47E62-2944-44D6-9ECF-65FBCD67EAEE}" type="presParOf" srcId="{D14DA065-050C-4075-8A1F-D9603D680442}" destId="{9D44A2B9-5329-4C7B-8F1F-FB15BE06EA23}" srcOrd="2" destOrd="0" presId="urn:microsoft.com/office/officeart/2018/2/layout/IconVerticalSolidList"/>
    <dgm:cxn modelId="{2287B474-8C7A-4E9B-97A4-3D54604E3067}" type="presParOf" srcId="{D14DA065-050C-4075-8A1F-D9603D680442}" destId="{43C419C8-2560-4B9B-B8DF-49EF4FD90FF0}" srcOrd="3" destOrd="0" presId="urn:microsoft.com/office/officeart/2018/2/layout/IconVerticalSolidList"/>
    <dgm:cxn modelId="{6D68E0F3-7B1C-4F55-8F2B-BF7B77E66E59}" type="presParOf" srcId="{422A87AA-30F0-4780-997A-F8E5859291F4}" destId="{AC1BD87C-53AE-4611-8799-7BE833C7C8CD}" srcOrd="1" destOrd="0" presId="urn:microsoft.com/office/officeart/2018/2/layout/IconVerticalSolidList"/>
    <dgm:cxn modelId="{0C6E5EA0-9AB0-4A2D-A856-76FB60846A37}" type="presParOf" srcId="{422A87AA-30F0-4780-997A-F8E5859291F4}" destId="{2D91DC10-75BB-4ABC-9F19-93C3BD933691}" srcOrd="2" destOrd="0" presId="urn:microsoft.com/office/officeart/2018/2/layout/IconVerticalSolidList"/>
    <dgm:cxn modelId="{52C62F99-69F2-47BC-A85B-0BECE111A6C9}" type="presParOf" srcId="{2D91DC10-75BB-4ABC-9F19-93C3BD933691}" destId="{F11DFAF5-CBA7-4B8D-A39F-176DCA91368D}" srcOrd="0" destOrd="0" presId="urn:microsoft.com/office/officeart/2018/2/layout/IconVerticalSolidList"/>
    <dgm:cxn modelId="{FEE61BCD-A807-40E5-97F3-5E074D7093D0}" type="presParOf" srcId="{2D91DC10-75BB-4ABC-9F19-93C3BD933691}" destId="{863F00F5-4C54-47FE-B3A8-0C6A1845F396}" srcOrd="1" destOrd="0" presId="urn:microsoft.com/office/officeart/2018/2/layout/IconVerticalSolidList"/>
    <dgm:cxn modelId="{C6791C06-2B92-44BB-BBEE-C5A6D3E8C4C4}" type="presParOf" srcId="{2D91DC10-75BB-4ABC-9F19-93C3BD933691}" destId="{C27C2182-D5BF-42A7-A04C-55705EBFCE88}" srcOrd="2" destOrd="0" presId="urn:microsoft.com/office/officeart/2018/2/layout/IconVerticalSolidList"/>
    <dgm:cxn modelId="{6A4E5DCC-514B-4144-981C-ECBA91447D7B}" type="presParOf" srcId="{2D91DC10-75BB-4ABC-9F19-93C3BD933691}" destId="{2A27F36A-CA93-4264-921D-5C622A087D54}" srcOrd="3" destOrd="0" presId="urn:microsoft.com/office/officeart/2018/2/layout/IconVerticalSolidList"/>
    <dgm:cxn modelId="{B6DECFE9-B26C-4614-95B5-19448C198557}" type="presParOf" srcId="{422A87AA-30F0-4780-997A-F8E5859291F4}" destId="{70FFB64F-26C8-4EEE-905B-1CDB683212C4}" srcOrd="3" destOrd="0" presId="urn:microsoft.com/office/officeart/2018/2/layout/IconVerticalSolidList"/>
    <dgm:cxn modelId="{196B84D1-72D3-4631-B2ED-CB30A1F4B7F4}" type="presParOf" srcId="{422A87AA-30F0-4780-997A-F8E5859291F4}" destId="{5852E385-EA25-48E1-B79C-A4AB8EE59F14}" srcOrd="4" destOrd="0" presId="urn:microsoft.com/office/officeart/2018/2/layout/IconVerticalSolidList"/>
    <dgm:cxn modelId="{DE69D7E4-8E22-4188-9D58-E8F18A3CE2C2}" type="presParOf" srcId="{5852E385-EA25-48E1-B79C-A4AB8EE59F14}" destId="{45A59FE9-0A29-4A1F-9D89-DE45CFA01180}" srcOrd="0" destOrd="0" presId="urn:microsoft.com/office/officeart/2018/2/layout/IconVerticalSolidList"/>
    <dgm:cxn modelId="{E6FB94F3-796F-40C4-8273-40F69177237C}" type="presParOf" srcId="{5852E385-EA25-48E1-B79C-A4AB8EE59F14}" destId="{3911B59A-8FA0-43B3-AC00-A213FB709256}" srcOrd="1" destOrd="0" presId="urn:microsoft.com/office/officeart/2018/2/layout/IconVerticalSolidList"/>
    <dgm:cxn modelId="{EA3A5F61-DD95-4A31-8420-1A29430C47CB}" type="presParOf" srcId="{5852E385-EA25-48E1-B79C-A4AB8EE59F14}" destId="{486C50A1-7F41-473F-9B29-A401F0CE7A93}" srcOrd="2" destOrd="0" presId="urn:microsoft.com/office/officeart/2018/2/layout/IconVerticalSolidList"/>
    <dgm:cxn modelId="{25A1B5B6-2C6B-495F-83C0-99CED0891D27}" type="presParOf" srcId="{5852E385-EA25-48E1-B79C-A4AB8EE59F14}" destId="{78AB9A7B-99C6-4724-A686-6CF8E6E03034}"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DC22B501-FFEF-4487-8024-1DFB47C60F6D}"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C54BE7B0-4808-4811-85E8-E2B2AE6556B8}">
      <dgm:prSet/>
      <dgm:spPr/>
      <dgm:t>
        <a:bodyPr/>
        <a:lstStyle/>
        <a:p>
          <a:pPr>
            <a:lnSpc>
              <a:spcPct val="100000"/>
            </a:lnSpc>
          </a:pPr>
          <a:r>
            <a:rPr lang="en-US" b="0" baseline="0"/>
            <a:t>Ability to perform equality comparison on columns encrypted using deterministic encryption</a:t>
          </a:r>
          <a:endParaRPr lang="en-US" b="0"/>
        </a:p>
      </dgm:t>
    </dgm:pt>
    <dgm:pt modelId="{FE59DD4C-4F5C-446C-BFB8-1703248D2FA2}" type="parTrans" cxnId="{FCDCB14C-1BBE-474B-AD8E-151F3AD9CCA7}">
      <dgm:prSet/>
      <dgm:spPr/>
      <dgm:t>
        <a:bodyPr/>
        <a:lstStyle/>
        <a:p>
          <a:endParaRPr lang="en-US"/>
        </a:p>
      </dgm:t>
    </dgm:pt>
    <dgm:pt modelId="{1D4ADA58-4E14-4057-98B1-936231A89363}" type="sibTrans" cxnId="{FCDCB14C-1BBE-474B-AD8E-151F3AD9CCA7}">
      <dgm:prSet/>
      <dgm:spPr/>
      <dgm:t>
        <a:bodyPr/>
        <a:lstStyle/>
        <a:p>
          <a:endParaRPr lang="en-US"/>
        </a:p>
      </dgm:t>
    </dgm:pt>
    <dgm:pt modelId="{76B010A3-CABE-4E72-8CB2-56B1C81E651D}">
      <dgm:prSet/>
      <dgm:spPr/>
      <dgm:t>
        <a:bodyPr/>
        <a:lstStyle/>
        <a:p>
          <a:pPr>
            <a:lnSpc>
              <a:spcPct val="100000"/>
            </a:lnSpc>
          </a:pPr>
          <a:r>
            <a:rPr lang="en-US" b="0" baseline="0"/>
            <a:t>Cannot query columns encrypted using randomized encryption</a:t>
          </a:r>
          <a:endParaRPr lang="en-US" b="0"/>
        </a:p>
      </dgm:t>
    </dgm:pt>
    <dgm:pt modelId="{A84AE14E-24F4-4DF6-BD37-F64EDB2488BC}" type="parTrans" cxnId="{924F9DFD-DB7A-491F-BDDA-1F7C6D1571E6}">
      <dgm:prSet/>
      <dgm:spPr/>
      <dgm:t>
        <a:bodyPr/>
        <a:lstStyle/>
        <a:p>
          <a:endParaRPr lang="en-US"/>
        </a:p>
      </dgm:t>
    </dgm:pt>
    <dgm:pt modelId="{43B1B634-C24A-4593-A7C6-2B3A48063B53}" type="sibTrans" cxnId="{924F9DFD-DB7A-491F-BDDA-1F7C6D1571E6}">
      <dgm:prSet/>
      <dgm:spPr/>
      <dgm:t>
        <a:bodyPr/>
        <a:lstStyle/>
        <a:p>
          <a:endParaRPr lang="en-US"/>
        </a:p>
      </dgm:t>
    </dgm:pt>
    <dgm:pt modelId="{48991ED5-276A-4C94-826F-9E46DDB52897}">
      <dgm:prSet/>
      <dgm:spPr>
        <a:ln>
          <a:solidFill>
            <a:schemeClr val="accent3"/>
          </a:solidFill>
        </a:ln>
      </dgm:spPr>
      <dgm:t>
        <a:bodyPr/>
        <a:lstStyle/>
        <a:p>
          <a:pPr>
            <a:lnSpc>
              <a:spcPct val="100000"/>
            </a:lnSpc>
          </a:pPr>
          <a:r>
            <a:rPr lang="en-US" baseline="0" dirty="0"/>
            <a:t>Indexing columns encrypted using randomized encryption is not supported</a:t>
          </a:r>
          <a:endParaRPr lang="en-US" dirty="0"/>
        </a:p>
      </dgm:t>
    </dgm:pt>
    <dgm:pt modelId="{C0669F74-0951-4DCC-923F-74B88D009A93}" type="parTrans" cxnId="{9F645586-40C2-4D83-A354-352A9E9771D3}">
      <dgm:prSet/>
      <dgm:spPr/>
      <dgm:t>
        <a:bodyPr/>
        <a:lstStyle/>
        <a:p>
          <a:endParaRPr lang="en-US"/>
        </a:p>
      </dgm:t>
    </dgm:pt>
    <dgm:pt modelId="{7738F995-CE87-4B0C-82DD-2191716055A4}" type="sibTrans" cxnId="{9F645586-40C2-4D83-A354-352A9E9771D3}">
      <dgm:prSet/>
      <dgm:spPr/>
      <dgm:t>
        <a:bodyPr/>
        <a:lstStyle/>
        <a:p>
          <a:endParaRPr lang="en-US"/>
        </a:p>
      </dgm:t>
    </dgm:pt>
    <dgm:pt modelId="{1F76B4FB-655F-456B-BFDB-66064C28BB50}">
      <dgm:prSet/>
      <dgm:spPr/>
      <dgm:t>
        <a:bodyPr/>
        <a:lstStyle/>
        <a:p>
          <a:pPr>
            <a:lnSpc>
              <a:spcPct val="100000"/>
            </a:lnSpc>
          </a:pPr>
          <a:r>
            <a:rPr lang="en-US" b="0" baseline="0"/>
            <a:t>Column encryption key can have up to two different encrypted values</a:t>
          </a:r>
          <a:endParaRPr lang="en-US" b="0"/>
        </a:p>
      </dgm:t>
    </dgm:pt>
    <dgm:pt modelId="{16906395-2BED-472F-BEB8-06CAF6FF00D3}" type="parTrans" cxnId="{59A2B15E-B522-4036-9F2B-302DA1E3B764}">
      <dgm:prSet/>
      <dgm:spPr/>
      <dgm:t>
        <a:bodyPr/>
        <a:lstStyle/>
        <a:p>
          <a:endParaRPr lang="en-US"/>
        </a:p>
      </dgm:t>
    </dgm:pt>
    <dgm:pt modelId="{8F65DA3A-9701-4DF0-AA39-BFCC59D555F8}" type="sibTrans" cxnId="{59A2B15E-B522-4036-9F2B-302DA1E3B764}">
      <dgm:prSet/>
      <dgm:spPr/>
      <dgm:t>
        <a:bodyPr/>
        <a:lstStyle/>
        <a:p>
          <a:endParaRPr lang="en-US"/>
        </a:p>
      </dgm:t>
    </dgm:pt>
    <dgm:pt modelId="{33CD165B-B7CD-45D7-BB5A-776268CAEE47}">
      <dgm:prSet/>
      <dgm:spPr>
        <a:ln>
          <a:solidFill>
            <a:schemeClr val="accent3"/>
          </a:solidFill>
        </a:ln>
      </dgm:spPr>
      <dgm:t>
        <a:bodyPr/>
        <a:lstStyle/>
        <a:p>
          <a:pPr>
            <a:lnSpc>
              <a:spcPct val="100000"/>
            </a:lnSpc>
          </a:pPr>
          <a:r>
            <a:rPr lang="en-US" baseline="0" dirty="0"/>
            <a:t>Query parameters that map to encrypted columns must be passed as driver-level parameters </a:t>
          </a:r>
          <a:endParaRPr lang="en-US" dirty="0"/>
        </a:p>
      </dgm:t>
    </dgm:pt>
    <dgm:pt modelId="{8C43D6EB-BCE3-4858-8DA6-C2C574BF51EB}" type="parTrans" cxnId="{F5F474D5-3449-46D8-A398-40D5BE7852DA}">
      <dgm:prSet/>
      <dgm:spPr/>
      <dgm:t>
        <a:bodyPr/>
        <a:lstStyle/>
        <a:p>
          <a:endParaRPr lang="en-US"/>
        </a:p>
      </dgm:t>
    </dgm:pt>
    <dgm:pt modelId="{EB8B64B5-B0DB-405A-BE42-DB45594F522B}" type="sibTrans" cxnId="{F5F474D5-3449-46D8-A398-40D5BE7852DA}">
      <dgm:prSet/>
      <dgm:spPr/>
      <dgm:t>
        <a:bodyPr/>
        <a:lstStyle/>
        <a:p>
          <a:endParaRPr lang="en-US"/>
        </a:p>
      </dgm:t>
    </dgm:pt>
    <dgm:pt modelId="{A033FE7E-03BE-40C4-98E4-60FDCB4F5B7A}">
      <dgm:prSet/>
      <dgm:spPr/>
      <dgm:t>
        <a:bodyPr/>
        <a:lstStyle/>
        <a:p>
          <a:pPr>
            <a:lnSpc>
              <a:spcPct val="100000"/>
            </a:lnSpc>
          </a:pPr>
          <a:r>
            <a:rPr lang="en-US" b="0" baseline="0"/>
            <a:t>Deterministic encryption requires a column to have one of binary2 collations</a:t>
          </a:r>
          <a:endParaRPr lang="en-US" b="0"/>
        </a:p>
      </dgm:t>
    </dgm:pt>
    <dgm:pt modelId="{1016A4D7-AACA-4A7D-925D-1D18730FFC64}" type="parTrans" cxnId="{77DC7165-1C2E-4C0B-B591-A6C6A9A59226}">
      <dgm:prSet/>
      <dgm:spPr/>
      <dgm:t>
        <a:bodyPr/>
        <a:lstStyle/>
        <a:p>
          <a:endParaRPr lang="en-US"/>
        </a:p>
      </dgm:t>
    </dgm:pt>
    <dgm:pt modelId="{2A525F93-85E8-42A1-BD42-2F91E5B68164}" type="sibTrans" cxnId="{77DC7165-1C2E-4C0B-B591-A6C6A9A59226}">
      <dgm:prSet/>
      <dgm:spPr/>
      <dgm:t>
        <a:bodyPr/>
        <a:lstStyle/>
        <a:p>
          <a:endParaRPr lang="en-US"/>
        </a:p>
      </dgm:t>
    </dgm:pt>
    <dgm:pt modelId="{054F8B02-7DC0-4966-B3A5-5068521BFC32}" type="pres">
      <dgm:prSet presAssocID="{DC22B501-FFEF-4487-8024-1DFB47C60F6D}" presName="root" presStyleCnt="0">
        <dgm:presLayoutVars>
          <dgm:dir/>
          <dgm:resizeHandles val="exact"/>
        </dgm:presLayoutVars>
      </dgm:prSet>
      <dgm:spPr/>
    </dgm:pt>
    <dgm:pt modelId="{766B9FDA-E588-4CCB-ACAD-59E125914037}" type="pres">
      <dgm:prSet presAssocID="{C54BE7B0-4808-4811-85E8-E2B2AE6556B8}" presName="compNode" presStyleCnt="0"/>
      <dgm:spPr/>
    </dgm:pt>
    <dgm:pt modelId="{D2C1939D-0AA3-482A-BAB4-3BEDB381CBE5}" type="pres">
      <dgm:prSet presAssocID="{C54BE7B0-4808-4811-85E8-E2B2AE6556B8}" presName="bgRect" presStyleLbl="bgShp" presStyleIdx="0" presStyleCnt="4"/>
      <dgm:spPr/>
    </dgm:pt>
    <dgm:pt modelId="{BF8B2AE7-04C4-44CB-ADC7-BC5BFCBE07E6}" type="pres">
      <dgm:prSet presAssocID="{C54BE7B0-4808-4811-85E8-E2B2AE6556B8}"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Scales of justice"/>
        </a:ext>
      </dgm:extLst>
    </dgm:pt>
    <dgm:pt modelId="{A8528F74-EC25-4BCA-B77C-3925AD82E911}" type="pres">
      <dgm:prSet presAssocID="{C54BE7B0-4808-4811-85E8-E2B2AE6556B8}" presName="spaceRect" presStyleCnt="0"/>
      <dgm:spPr/>
    </dgm:pt>
    <dgm:pt modelId="{AF294B92-D22B-4B26-A875-E011E5C052A6}" type="pres">
      <dgm:prSet presAssocID="{C54BE7B0-4808-4811-85E8-E2B2AE6556B8}" presName="parTx" presStyleLbl="revTx" presStyleIdx="0" presStyleCnt="6">
        <dgm:presLayoutVars>
          <dgm:chMax val="0"/>
          <dgm:chPref val="0"/>
        </dgm:presLayoutVars>
      </dgm:prSet>
      <dgm:spPr/>
    </dgm:pt>
    <dgm:pt modelId="{FBAB672A-E4DA-405E-964B-565F19AD68AB}" type="pres">
      <dgm:prSet presAssocID="{1D4ADA58-4E14-4057-98B1-936231A89363}" presName="sibTrans" presStyleCnt="0"/>
      <dgm:spPr/>
    </dgm:pt>
    <dgm:pt modelId="{99292E4B-7C79-4F48-8C91-8B267FA237C3}" type="pres">
      <dgm:prSet presAssocID="{76B010A3-CABE-4E72-8CB2-56B1C81E651D}" presName="compNode" presStyleCnt="0"/>
      <dgm:spPr/>
    </dgm:pt>
    <dgm:pt modelId="{9C2996C0-D2D2-4DCD-BCE7-6A8F18620148}" type="pres">
      <dgm:prSet presAssocID="{76B010A3-CABE-4E72-8CB2-56B1C81E651D}" presName="bgRect" presStyleLbl="bgShp" presStyleIdx="1" presStyleCnt="4"/>
      <dgm:spPr/>
    </dgm:pt>
    <dgm:pt modelId="{6072E377-C360-4DD6-BD80-A34925FA939C}" type="pres">
      <dgm:prSet presAssocID="{76B010A3-CABE-4E72-8CB2-56B1C81E651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Magnifying glass"/>
        </a:ext>
      </dgm:extLst>
    </dgm:pt>
    <dgm:pt modelId="{215202C3-19AD-4306-9852-C294E3D729BC}" type="pres">
      <dgm:prSet presAssocID="{76B010A3-CABE-4E72-8CB2-56B1C81E651D}" presName="spaceRect" presStyleCnt="0"/>
      <dgm:spPr/>
    </dgm:pt>
    <dgm:pt modelId="{B5A59715-08C7-4776-BE92-8E4BB2BEF93A}" type="pres">
      <dgm:prSet presAssocID="{76B010A3-CABE-4E72-8CB2-56B1C81E651D}" presName="parTx" presStyleLbl="revTx" presStyleIdx="1" presStyleCnt="6">
        <dgm:presLayoutVars>
          <dgm:chMax val="0"/>
          <dgm:chPref val="0"/>
        </dgm:presLayoutVars>
      </dgm:prSet>
      <dgm:spPr/>
    </dgm:pt>
    <dgm:pt modelId="{126FAE5C-E91B-4C40-8D7B-2374B83B7601}" type="pres">
      <dgm:prSet presAssocID="{76B010A3-CABE-4E72-8CB2-56B1C81E651D}" presName="desTx" presStyleLbl="revTx" presStyleIdx="2" presStyleCnt="6">
        <dgm:presLayoutVars/>
      </dgm:prSet>
      <dgm:spPr/>
    </dgm:pt>
    <dgm:pt modelId="{F56D76FB-3E6D-457D-B52C-3795ECDCC7F6}" type="pres">
      <dgm:prSet presAssocID="{43B1B634-C24A-4593-A7C6-2B3A48063B53}" presName="sibTrans" presStyleCnt="0"/>
      <dgm:spPr/>
    </dgm:pt>
    <dgm:pt modelId="{A939C62E-EDE3-4753-9867-E50C8797061D}" type="pres">
      <dgm:prSet presAssocID="{1F76B4FB-655F-456B-BFDB-66064C28BB50}" presName="compNode" presStyleCnt="0"/>
      <dgm:spPr/>
    </dgm:pt>
    <dgm:pt modelId="{8B997DB4-CE5A-407B-9A70-2DE35EE746C1}" type="pres">
      <dgm:prSet presAssocID="{1F76B4FB-655F-456B-BFDB-66064C28BB50}" presName="bgRect" presStyleLbl="bgShp" presStyleIdx="2" presStyleCnt="4"/>
      <dgm:spPr/>
    </dgm:pt>
    <dgm:pt modelId="{34CDAE83-2856-4E08-B1D4-A571EF51E5CC}" type="pres">
      <dgm:prSet presAssocID="{1F76B4FB-655F-456B-BFDB-66064C28BB50}"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Signpost"/>
        </a:ext>
      </dgm:extLst>
    </dgm:pt>
    <dgm:pt modelId="{6137E1D6-FFA3-4BDB-9F72-B661FD264985}" type="pres">
      <dgm:prSet presAssocID="{1F76B4FB-655F-456B-BFDB-66064C28BB50}" presName="spaceRect" presStyleCnt="0"/>
      <dgm:spPr/>
    </dgm:pt>
    <dgm:pt modelId="{6F99463C-8E21-4078-9B0E-0C5EE93ACD86}" type="pres">
      <dgm:prSet presAssocID="{1F76B4FB-655F-456B-BFDB-66064C28BB50}" presName="parTx" presStyleLbl="revTx" presStyleIdx="3" presStyleCnt="6">
        <dgm:presLayoutVars>
          <dgm:chMax val="0"/>
          <dgm:chPref val="0"/>
        </dgm:presLayoutVars>
      </dgm:prSet>
      <dgm:spPr/>
    </dgm:pt>
    <dgm:pt modelId="{A7A7C442-644D-4D64-946B-960EA978F3EC}" type="pres">
      <dgm:prSet presAssocID="{1F76B4FB-655F-456B-BFDB-66064C28BB50}" presName="desTx" presStyleLbl="revTx" presStyleIdx="4" presStyleCnt="6">
        <dgm:presLayoutVars/>
      </dgm:prSet>
      <dgm:spPr/>
    </dgm:pt>
    <dgm:pt modelId="{77A76CA6-5645-4106-AD6D-8D8390AB1477}" type="pres">
      <dgm:prSet presAssocID="{8F65DA3A-9701-4DF0-AA39-BFCC59D555F8}" presName="sibTrans" presStyleCnt="0"/>
      <dgm:spPr/>
    </dgm:pt>
    <dgm:pt modelId="{A3DD421F-5F01-4872-A81E-2F51B7126F9C}" type="pres">
      <dgm:prSet presAssocID="{A033FE7E-03BE-40C4-98E4-60FDCB4F5B7A}" presName="compNode" presStyleCnt="0"/>
      <dgm:spPr/>
    </dgm:pt>
    <dgm:pt modelId="{76F1C5BE-0FB1-42C9-A876-FC7A0AFF0B61}" type="pres">
      <dgm:prSet presAssocID="{A033FE7E-03BE-40C4-98E4-60FDCB4F5B7A}" presName="bgRect" presStyleLbl="bgShp" presStyleIdx="3" presStyleCnt="4"/>
      <dgm:spPr/>
    </dgm:pt>
    <dgm:pt modelId="{640D65FA-AE91-4E65-885A-CC4AD2346639}" type="pres">
      <dgm:prSet presAssocID="{A033FE7E-03BE-40C4-98E4-60FDCB4F5B7A}"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Disconnected"/>
        </a:ext>
      </dgm:extLst>
    </dgm:pt>
    <dgm:pt modelId="{F1FB2BB2-C071-449B-AC13-7444EC1585DA}" type="pres">
      <dgm:prSet presAssocID="{A033FE7E-03BE-40C4-98E4-60FDCB4F5B7A}" presName="spaceRect" presStyleCnt="0"/>
      <dgm:spPr/>
    </dgm:pt>
    <dgm:pt modelId="{00C180BC-3A2E-4DDB-ADB8-6244D283EE02}" type="pres">
      <dgm:prSet presAssocID="{A033FE7E-03BE-40C4-98E4-60FDCB4F5B7A}" presName="parTx" presStyleLbl="revTx" presStyleIdx="5" presStyleCnt="6">
        <dgm:presLayoutVars>
          <dgm:chMax val="0"/>
          <dgm:chPref val="0"/>
        </dgm:presLayoutVars>
      </dgm:prSet>
      <dgm:spPr/>
    </dgm:pt>
  </dgm:ptLst>
  <dgm:cxnLst>
    <dgm:cxn modelId="{7CE9A922-AC4C-41F5-B2CC-1433F9E65327}" type="presOf" srcId="{33CD165B-B7CD-45D7-BB5A-776268CAEE47}" destId="{A7A7C442-644D-4D64-946B-960EA978F3EC}" srcOrd="0" destOrd="0" presId="urn:microsoft.com/office/officeart/2018/2/layout/IconVerticalSolidList"/>
    <dgm:cxn modelId="{EBC66F28-60A4-43A6-A0B3-BB47D044285F}" type="presOf" srcId="{76B010A3-CABE-4E72-8CB2-56B1C81E651D}" destId="{B5A59715-08C7-4776-BE92-8E4BB2BEF93A}" srcOrd="0" destOrd="0" presId="urn:microsoft.com/office/officeart/2018/2/layout/IconVerticalSolidList"/>
    <dgm:cxn modelId="{59A2B15E-B522-4036-9F2B-302DA1E3B764}" srcId="{DC22B501-FFEF-4487-8024-1DFB47C60F6D}" destId="{1F76B4FB-655F-456B-BFDB-66064C28BB50}" srcOrd="2" destOrd="0" parTransId="{16906395-2BED-472F-BEB8-06CAF6FF00D3}" sibTransId="{8F65DA3A-9701-4DF0-AA39-BFCC59D555F8}"/>
    <dgm:cxn modelId="{77DC7165-1C2E-4C0B-B591-A6C6A9A59226}" srcId="{DC22B501-FFEF-4487-8024-1DFB47C60F6D}" destId="{A033FE7E-03BE-40C4-98E4-60FDCB4F5B7A}" srcOrd="3" destOrd="0" parTransId="{1016A4D7-AACA-4A7D-925D-1D18730FFC64}" sibTransId="{2A525F93-85E8-42A1-BD42-2F91E5B68164}"/>
    <dgm:cxn modelId="{0450086B-B040-4698-9271-C38623CB9A4B}" type="presOf" srcId="{A033FE7E-03BE-40C4-98E4-60FDCB4F5B7A}" destId="{00C180BC-3A2E-4DDB-ADB8-6244D283EE02}" srcOrd="0" destOrd="0" presId="urn:microsoft.com/office/officeart/2018/2/layout/IconVerticalSolidList"/>
    <dgm:cxn modelId="{FCDCB14C-1BBE-474B-AD8E-151F3AD9CCA7}" srcId="{DC22B501-FFEF-4487-8024-1DFB47C60F6D}" destId="{C54BE7B0-4808-4811-85E8-E2B2AE6556B8}" srcOrd="0" destOrd="0" parTransId="{FE59DD4C-4F5C-446C-BFB8-1703248D2FA2}" sibTransId="{1D4ADA58-4E14-4057-98B1-936231A89363}"/>
    <dgm:cxn modelId="{A2697159-97B2-46A7-83E3-B4FEB01CC6DB}" type="presOf" srcId="{C54BE7B0-4808-4811-85E8-E2B2AE6556B8}" destId="{AF294B92-D22B-4B26-A875-E011E5C052A6}" srcOrd="0" destOrd="0" presId="urn:microsoft.com/office/officeart/2018/2/layout/IconVerticalSolidList"/>
    <dgm:cxn modelId="{9F645586-40C2-4D83-A354-352A9E9771D3}" srcId="{76B010A3-CABE-4E72-8CB2-56B1C81E651D}" destId="{48991ED5-276A-4C94-826F-9E46DDB52897}" srcOrd="0" destOrd="0" parTransId="{C0669F74-0951-4DCC-923F-74B88D009A93}" sibTransId="{7738F995-CE87-4B0C-82DD-2191716055A4}"/>
    <dgm:cxn modelId="{ECFC25BF-F79F-475D-B977-FE8FEBB81942}" type="presOf" srcId="{1F76B4FB-655F-456B-BFDB-66064C28BB50}" destId="{6F99463C-8E21-4078-9B0E-0C5EE93ACD86}" srcOrd="0" destOrd="0" presId="urn:microsoft.com/office/officeart/2018/2/layout/IconVerticalSolidList"/>
    <dgm:cxn modelId="{1AD9C0C1-13DC-44ED-A4F1-EE09C38E2010}" type="presOf" srcId="{48991ED5-276A-4C94-826F-9E46DDB52897}" destId="{126FAE5C-E91B-4C40-8D7B-2374B83B7601}" srcOrd="0" destOrd="0" presId="urn:microsoft.com/office/officeart/2018/2/layout/IconVerticalSolidList"/>
    <dgm:cxn modelId="{F5F474D5-3449-46D8-A398-40D5BE7852DA}" srcId="{1F76B4FB-655F-456B-BFDB-66064C28BB50}" destId="{33CD165B-B7CD-45D7-BB5A-776268CAEE47}" srcOrd="0" destOrd="0" parTransId="{8C43D6EB-BCE3-4858-8DA6-C2C574BF51EB}" sibTransId="{EB8B64B5-B0DB-405A-BE42-DB45594F522B}"/>
    <dgm:cxn modelId="{19DBBDD5-0F09-404F-B001-EA2FEB2B99F8}" type="presOf" srcId="{DC22B501-FFEF-4487-8024-1DFB47C60F6D}" destId="{054F8B02-7DC0-4966-B3A5-5068521BFC32}" srcOrd="0" destOrd="0" presId="urn:microsoft.com/office/officeart/2018/2/layout/IconVerticalSolidList"/>
    <dgm:cxn modelId="{924F9DFD-DB7A-491F-BDDA-1F7C6D1571E6}" srcId="{DC22B501-FFEF-4487-8024-1DFB47C60F6D}" destId="{76B010A3-CABE-4E72-8CB2-56B1C81E651D}" srcOrd="1" destOrd="0" parTransId="{A84AE14E-24F4-4DF6-BD37-F64EDB2488BC}" sibTransId="{43B1B634-C24A-4593-A7C6-2B3A48063B53}"/>
    <dgm:cxn modelId="{AD467137-663E-4534-9D51-13495F898526}" type="presParOf" srcId="{054F8B02-7DC0-4966-B3A5-5068521BFC32}" destId="{766B9FDA-E588-4CCB-ACAD-59E125914037}" srcOrd="0" destOrd="0" presId="urn:microsoft.com/office/officeart/2018/2/layout/IconVerticalSolidList"/>
    <dgm:cxn modelId="{525EA3F2-7F4D-4447-A7FF-76A4776093CB}" type="presParOf" srcId="{766B9FDA-E588-4CCB-ACAD-59E125914037}" destId="{D2C1939D-0AA3-482A-BAB4-3BEDB381CBE5}" srcOrd="0" destOrd="0" presId="urn:microsoft.com/office/officeart/2018/2/layout/IconVerticalSolidList"/>
    <dgm:cxn modelId="{2BF5FECD-FDCC-48D0-B402-E39DE73DB4AF}" type="presParOf" srcId="{766B9FDA-E588-4CCB-ACAD-59E125914037}" destId="{BF8B2AE7-04C4-44CB-ADC7-BC5BFCBE07E6}" srcOrd="1" destOrd="0" presId="urn:microsoft.com/office/officeart/2018/2/layout/IconVerticalSolidList"/>
    <dgm:cxn modelId="{F152E4BA-0B32-498F-8F20-AF5A0D36BA50}" type="presParOf" srcId="{766B9FDA-E588-4CCB-ACAD-59E125914037}" destId="{A8528F74-EC25-4BCA-B77C-3925AD82E911}" srcOrd="2" destOrd="0" presId="urn:microsoft.com/office/officeart/2018/2/layout/IconVerticalSolidList"/>
    <dgm:cxn modelId="{856980EC-7E0A-4265-926A-1A7434E6A951}" type="presParOf" srcId="{766B9FDA-E588-4CCB-ACAD-59E125914037}" destId="{AF294B92-D22B-4B26-A875-E011E5C052A6}" srcOrd="3" destOrd="0" presId="urn:microsoft.com/office/officeart/2018/2/layout/IconVerticalSolidList"/>
    <dgm:cxn modelId="{21F3D994-7539-4EBC-9820-2EB64F62DF9D}" type="presParOf" srcId="{054F8B02-7DC0-4966-B3A5-5068521BFC32}" destId="{FBAB672A-E4DA-405E-964B-565F19AD68AB}" srcOrd="1" destOrd="0" presId="urn:microsoft.com/office/officeart/2018/2/layout/IconVerticalSolidList"/>
    <dgm:cxn modelId="{C4F210F6-BE3C-45CA-A44D-E0BCB4DB7FDB}" type="presParOf" srcId="{054F8B02-7DC0-4966-B3A5-5068521BFC32}" destId="{99292E4B-7C79-4F48-8C91-8B267FA237C3}" srcOrd="2" destOrd="0" presId="urn:microsoft.com/office/officeart/2018/2/layout/IconVerticalSolidList"/>
    <dgm:cxn modelId="{CF0046F5-3CEB-4742-AEE1-B5D32C7AB07D}" type="presParOf" srcId="{99292E4B-7C79-4F48-8C91-8B267FA237C3}" destId="{9C2996C0-D2D2-4DCD-BCE7-6A8F18620148}" srcOrd="0" destOrd="0" presId="urn:microsoft.com/office/officeart/2018/2/layout/IconVerticalSolidList"/>
    <dgm:cxn modelId="{5A7C14E9-DBD4-4E7F-A5BF-984E5FF843AC}" type="presParOf" srcId="{99292E4B-7C79-4F48-8C91-8B267FA237C3}" destId="{6072E377-C360-4DD6-BD80-A34925FA939C}" srcOrd="1" destOrd="0" presId="urn:microsoft.com/office/officeart/2018/2/layout/IconVerticalSolidList"/>
    <dgm:cxn modelId="{70DF7E71-109E-47BC-AF80-F11B42D306BE}" type="presParOf" srcId="{99292E4B-7C79-4F48-8C91-8B267FA237C3}" destId="{215202C3-19AD-4306-9852-C294E3D729BC}" srcOrd="2" destOrd="0" presId="urn:microsoft.com/office/officeart/2018/2/layout/IconVerticalSolidList"/>
    <dgm:cxn modelId="{C934538F-0E58-493A-B718-E11B187D03BE}" type="presParOf" srcId="{99292E4B-7C79-4F48-8C91-8B267FA237C3}" destId="{B5A59715-08C7-4776-BE92-8E4BB2BEF93A}" srcOrd="3" destOrd="0" presId="urn:microsoft.com/office/officeart/2018/2/layout/IconVerticalSolidList"/>
    <dgm:cxn modelId="{8F993C63-AF4C-4142-88BB-B27B8E3F109B}" type="presParOf" srcId="{99292E4B-7C79-4F48-8C91-8B267FA237C3}" destId="{126FAE5C-E91B-4C40-8D7B-2374B83B7601}" srcOrd="4" destOrd="0" presId="urn:microsoft.com/office/officeart/2018/2/layout/IconVerticalSolidList"/>
    <dgm:cxn modelId="{C102959D-DD72-4F2B-B7D1-23AF834F1395}" type="presParOf" srcId="{054F8B02-7DC0-4966-B3A5-5068521BFC32}" destId="{F56D76FB-3E6D-457D-B52C-3795ECDCC7F6}" srcOrd="3" destOrd="0" presId="urn:microsoft.com/office/officeart/2018/2/layout/IconVerticalSolidList"/>
    <dgm:cxn modelId="{DA5AD374-79ED-4827-9A7C-768C7480CD81}" type="presParOf" srcId="{054F8B02-7DC0-4966-B3A5-5068521BFC32}" destId="{A939C62E-EDE3-4753-9867-E50C8797061D}" srcOrd="4" destOrd="0" presId="urn:microsoft.com/office/officeart/2018/2/layout/IconVerticalSolidList"/>
    <dgm:cxn modelId="{F843F6A1-8047-4C27-A033-4DD763CACFE6}" type="presParOf" srcId="{A939C62E-EDE3-4753-9867-E50C8797061D}" destId="{8B997DB4-CE5A-407B-9A70-2DE35EE746C1}" srcOrd="0" destOrd="0" presId="urn:microsoft.com/office/officeart/2018/2/layout/IconVerticalSolidList"/>
    <dgm:cxn modelId="{C9A69D5F-7211-4489-BC28-3C1CC0B1129A}" type="presParOf" srcId="{A939C62E-EDE3-4753-9867-E50C8797061D}" destId="{34CDAE83-2856-4E08-B1D4-A571EF51E5CC}" srcOrd="1" destOrd="0" presId="urn:microsoft.com/office/officeart/2018/2/layout/IconVerticalSolidList"/>
    <dgm:cxn modelId="{2288907E-6608-440A-B92E-C98982C33136}" type="presParOf" srcId="{A939C62E-EDE3-4753-9867-E50C8797061D}" destId="{6137E1D6-FFA3-4BDB-9F72-B661FD264985}" srcOrd="2" destOrd="0" presId="urn:microsoft.com/office/officeart/2018/2/layout/IconVerticalSolidList"/>
    <dgm:cxn modelId="{9FB38B79-0CAE-4784-92FD-8201E95D3965}" type="presParOf" srcId="{A939C62E-EDE3-4753-9867-E50C8797061D}" destId="{6F99463C-8E21-4078-9B0E-0C5EE93ACD86}" srcOrd="3" destOrd="0" presId="urn:microsoft.com/office/officeart/2018/2/layout/IconVerticalSolidList"/>
    <dgm:cxn modelId="{11487E93-E1BD-408A-B945-A4B657551FCF}" type="presParOf" srcId="{A939C62E-EDE3-4753-9867-E50C8797061D}" destId="{A7A7C442-644D-4D64-946B-960EA978F3EC}" srcOrd="4" destOrd="0" presId="urn:microsoft.com/office/officeart/2018/2/layout/IconVerticalSolidList"/>
    <dgm:cxn modelId="{87D94734-643E-4E7A-9129-BDFA7055A6AA}" type="presParOf" srcId="{054F8B02-7DC0-4966-B3A5-5068521BFC32}" destId="{77A76CA6-5645-4106-AD6D-8D8390AB1477}" srcOrd="5" destOrd="0" presId="urn:microsoft.com/office/officeart/2018/2/layout/IconVerticalSolidList"/>
    <dgm:cxn modelId="{6839D0F2-003F-4935-9A03-590A63D41CB5}" type="presParOf" srcId="{054F8B02-7DC0-4966-B3A5-5068521BFC32}" destId="{A3DD421F-5F01-4872-A81E-2F51B7126F9C}" srcOrd="6" destOrd="0" presId="urn:microsoft.com/office/officeart/2018/2/layout/IconVerticalSolidList"/>
    <dgm:cxn modelId="{7B58F647-0D3A-4198-844D-20DB7318C123}" type="presParOf" srcId="{A3DD421F-5F01-4872-A81E-2F51B7126F9C}" destId="{76F1C5BE-0FB1-42C9-A876-FC7A0AFF0B61}" srcOrd="0" destOrd="0" presId="urn:microsoft.com/office/officeart/2018/2/layout/IconVerticalSolidList"/>
    <dgm:cxn modelId="{ACD40B27-E459-4A5F-B0D9-ED62C3B6A7D5}" type="presParOf" srcId="{A3DD421F-5F01-4872-A81E-2F51B7126F9C}" destId="{640D65FA-AE91-4E65-885A-CC4AD2346639}" srcOrd="1" destOrd="0" presId="urn:microsoft.com/office/officeart/2018/2/layout/IconVerticalSolidList"/>
    <dgm:cxn modelId="{C8A10431-95C9-401E-8039-32F2A81AEE97}" type="presParOf" srcId="{A3DD421F-5F01-4872-A81E-2F51B7126F9C}" destId="{F1FB2BB2-C071-449B-AC13-7444EC1585DA}" srcOrd="2" destOrd="0" presId="urn:microsoft.com/office/officeart/2018/2/layout/IconVerticalSolidList"/>
    <dgm:cxn modelId="{A6B945CF-A7CF-4D6E-B8E3-AF5953192FF0}" type="presParOf" srcId="{A3DD421F-5F01-4872-A81E-2F51B7126F9C}" destId="{00C180BC-3A2E-4DDB-ADB8-6244D283EE02}"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D3A681D5-277D-432E-BD5F-4DD9C717E9AC}" type="doc">
      <dgm:prSet loTypeId="urn:microsoft.com/office/officeart/2005/8/layout/list1" loCatId="list" qsTypeId="urn:microsoft.com/office/officeart/2005/8/quickstyle/simple2" qsCatId="simple" csTypeId="urn:microsoft.com/office/officeart/2005/8/colors/colorful2" csCatId="colorful" phldr="1"/>
      <dgm:spPr/>
      <dgm:t>
        <a:bodyPr/>
        <a:lstStyle/>
        <a:p>
          <a:endParaRPr lang="en-US"/>
        </a:p>
      </dgm:t>
    </dgm:pt>
    <dgm:pt modelId="{077A23AF-FAD7-4793-851B-97EB9C415D3A}">
      <dgm:prSet custT="1"/>
      <dgm:spPr/>
      <dgm:t>
        <a:bodyPr/>
        <a:lstStyle/>
        <a:p>
          <a:r>
            <a:rPr lang="en-US" sz="2400" baseline="0" dirty="0"/>
            <a:t>Not supported when columns use any of these datatypes</a:t>
          </a:r>
          <a:endParaRPr lang="en-US" sz="2400" dirty="0"/>
        </a:p>
      </dgm:t>
    </dgm:pt>
    <dgm:pt modelId="{289ED411-C1C4-48D9-B2A9-50AC65800B3F}" type="parTrans" cxnId="{9414A81D-44F8-425C-8CE2-82BC65CBA7E1}">
      <dgm:prSet/>
      <dgm:spPr/>
      <dgm:t>
        <a:bodyPr/>
        <a:lstStyle/>
        <a:p>
          <a:endParaRPr lang="en-US"/>
        </a:p>
      </dgm:t>
    </dgm:pt>
    <dgm:pt modelId="{EEBF26C1-F9A3-43E3-B6E4-A0DB4C19B8BC}" type="sibTrans" cxnId="{9414A81D-44F8-425C-8CE2-82BC65CBA7E1}">
      <dgm:prSet/>
      <dgm:spPr/>
      <dgm:t>
        <a:bodyPr/>
        <a:lstStyle/>
        <a:p>
          <a:endParaRPr lang="en-US"/>
        </a:p>
      </dgm:t>
    </dgm:pt>
    <dgm:pt modelId="{6DB4EEF3-0284-40A0-B8E6-737A68325D68}">
      <dgm:prSet/>
      <dgm:spPr/>
      <dgm:t>
        <a:bodyPr/>
        <a:lstStyle/>
        <a:p>
          <a:r>
            <a:rPr lang="en-US" baseline="0"/>
            <a:t>xml, </a:t>
          </a:r>
          <a:r>
            <a:rPr lang="en-US" baseline="0" err="1"/>
            <a:t>hierarchyid</a:t>
          </a:r>
          <a:r>
            <a:rPr lang="en-US" baseline="0"/>
            <a:t>, </a:t>
          </a:r>
          <a:r>
            <a:rPr lang="en-US" baseline="0" err="1"/>
            <a:t>rowversion</a:t>
          </a:r>
          <a:r>
            <a:rPr lang="en-US" baseline="0"/>
            <a:t>, image, text, </a:t>
          </a:r>
          <a:r>
            <a:rPr lang="en-US" baseline="0" err="1"/>
            <a:t>ntext</a:t>
          </a:r>
          <a:r>
            <a:rPr lang="en-US" baseline="0"/>
            <a:t>, geography, geometry, user-defined types, or </a:t>
          </a:r>
          <a:r>
            <a:rPr lang="en-US" baseline="0" err="1"/>
            <a:t>sql_variant</a:t>
          </a:r>
          <a:endParaRPr lang="en-US"/>
        </a:p>
      </dgm:t>
    </dgm:pt>
    <dgm:pt modelId="{F3F3C8E3-E055-484A-AE37-3E8992641CF6}" type="parTrans" cxnId="{CD700AAC-3BE4-4C47-A6FC-88496C3078F2}">
      <dgm:prSet/>
      <dgm:spPr/>
      <dgm:t>
        <a:bodyPr/>
        <a:lstStyle/>
        <a:p>
          <a:endParaRPr lang="en-US"/>
        </a:p>
      </dgm:t>
    </dgm:pt>
    <dgm:pt modelId="{09B4EBDF-3C60-4E26-9E85-07DC923C89DD}" type="sibTrans" cxnId="{CD700AAC-3BE4-4C47-A6FC-88496C3078F2}">
      <dgm:prSet/>
      <dgm:spPr/>
      <dgm:t>
        <a:bodyPr/>
        <a:lstStyle/>
        <a:p>
          <a:endParaRPr lang="en-US"/>
        </a:p>
      </dgm:t>
    </dgm:pt>
    <dgm:pt modelId="{17248034-9509-4FF8-8B7A-FC75575A053C}">
      <dgm:prSet custT="1"/>
      <dgm:spPr/>
      <dgm:t>
        <a:bodyPr/>
        <a:lstStyle/>
        <a:p>
          <a:r>
            <a:rPr lang="en-US" sz="2400" baseline="0"/>
            <a:t>Clauses that cannot be used for encrypted columns</a:t>
          </a:r>
          <a:endParaRPr lang="en-US" sz="2400"/>
        </a:p>
      </dgm:t>
    </dgm:pt>
    <dgm:pt modelId="{8F9F28AD-3DB5-49B2-83F5-624EA0F2ACA2}" type="parTrans" cxnId="{8549E402-37DA-4DD1-8965-86BA5F3F7412}">
      <dgm:prSet/>
      <dgm:spPr/>
      <dgm:t>
        <a:bodyPr/>
        <a:lstStyle/>
        <a:p>
          <a:endParaRPr lang="en-US"/>
        </a:p>
      </dgm:t>
    </dgm:pt>
    <dgm:pt modelId="{07CE1204-7426-45C6-ACE8-7BC958D6C0E7}" type="sibTrans" cxnId="{8549E402-37DA-4DD1-8965-86BA5F3F7412}">
      <dgm:prSet/>
      <dgm:spPr/>
      <dgm:t>
        <a:bodyPr/>
        <a:lstStyle/>
        <a:p>
          <a:endParaRPr lang="en-US"/>
        </a:p>
      </dgm:t>
    </dgm:pt>
    <dgm:pt modelId="{8D2455FA-0CA3-42CA-A38F-E449E727EB3B}">
      <dgm:prSet/>
      <dgm:spPr/>
      <dgm:t>
        <a:bodyPr/>
        <a:lstStyle/>
        <a:p>
          <a:r>
            <a:rPr lang="en-US" baseline="0"/>
            <a:t>FOR XML </a:t>
          </a:r>
          <a:endParaRPr lang="en-US"/>
        </a:p>
      </dgm:t>
    </dgm:pt>
    <dgm:pt modelId="{278A5EA5-84E5-43E5-B514-4476D4298625}" type="parTrans" cxnId="{130166F8-8810-4920-92E2-05CEDA8C7AD0}">
      <dgm:prSet/>
      <dgm:spPr/>
      <dgm:t>
        <a:bodyPr/>
        <a:lstStyle/>
        <a:p>
          <a:endParaRPr lang="en-US"/>
        </a:p>
      </dgm:t>
    </dgm:pt>
    <dgm:pt modelId="{07CCC88B-5E72-4E43-B004-3EF7A74F3C60}" type="sibTrans" cxnId="{130166F8-8810-4920-92E2-05CEDA8C7AD0}">
      <dgm:prSet/>
      <dgm:spPr/>
      <dgm:t>
        <a:bodyPr/>
        <a:lstStyle/>
        <a:p>
          <a:endParaRPr lang="en-US"/>
        </a:p>
      </dgm:t>
    </dgm:pt>
    <dgm:pt modelId="{908E69F7-26F2-447F-989B-9855929FB999}">
      <dgm:prSet/>
      <dgm:spPr/>
      <dgm:t>
        <a:bodyPr/>
        <a:lstStyle/>
        <a:p>
          <a:r>
            <a:rPr lang="en-US" baseline="0"/>
            <a:t>FOR JSON PATH</a:t>
          </a:r>
          <a:endParaRPr lang="en-US"/>
        </a:p>
      </dgm:t>
    </dgm:pt>
    <dgm:pt modelId="{66522969-E2D4-47EC-8D6A-38F1ABE7BD7F}" type="parTrans" cxnId="{89BEDE24-36B1-4633-803D-9E374E48F923}">
      <dgm:prSet/>
      <dgm:spPr/>
      <dgm:t>
        <a:bodyPr/>
        <a:lstStyle/>
        <a:p>
          <a:endParaRPr lang="en-US"/>
        </a:p>
      </dgm:t>
    </dgm:pt>
    <dgm:pt modelId="{CDBDCCD2-66A0-4E3B-BAE8-B905C2B09531}" type="sibTrans" cxnId="{89BEDE24-36B1-4633-803D-9E374E48F923}">
      <dgm:prSet/>
      <dgm:spPr/>
      <dgm:t>
        <a:bodyPr/>
        <a:lstStyle/>
        <a:p>
          <a:endParaRPr lang="en-US"/>
        </a:p>
      </dgm:t>
    </dgm:pt>
    <dgm:pt modelId="{1D0F2424-C519-4405-9A5C-0654860083BD}">
      <dgm:prSet custT="1"/>
      <dgm:spPr/>
      <dgm:t>
        <a:bodyPr/>
        <a:lstStyle/>
        <a:p>
          <a:r>
            <a:rPr lang="en-US" sz="2400" baseline="0"/>
            <a:t>Features that do not work on encrypted columns</a:t>
          </a:r>
          <a:endParaRPr lang="en-US" sz="2400"/>
        </a:p>
      </dgm:t>
    </dgm:pt>
    <dgm:pt modelId="{9B16CC24-0271-4086-B6C8-82EE13BE7EFC}" type="parTrans" cxnId="{10A6D6FD-2E9A-47EF-9235-C7508EF8F410}">
      <dgm:prSet/>
      <dgm:spPr/>
      <dgm:t>
        <a:bodyPr/>
        <a:lstStyle/>
        <a:p>
          <a:endParaRPr lang="en-US"/>
        </a:p>
      </dgm:t>
    </dgm:pt>
    <dgm:pt modelId="{A973D43B-3150-45C9-AD52-68D4F51E4019}" type="sibTrans" cxnId="{10A6D6FD-2E9A-47EF-9235-C7508EF8F410}">
      <dgm:prSet/>
      <dgm:spPr/>
      <dgm:t>
        <a:bodyPr/>
        <a:lstStyle/>
        <a:p>
          <a:endParaRPr lang="en-US"/>
        </a:p>
      </dgm:t>
    </dgm:pt>
    <dgm:pt modelId="{554EC4BC-B4F7-4A7F-92EA-B42BF139C4EB}">
      <dgm:prSet/>
      <dgm:spPr/>
      <dgm:t>
        <a:bodyPr/>
        <a:lstStyle/>
        <a:p>
          <a:r>
            <a:rPr lang="en-US" baseline="0"/>
            <a:t>Transactional or merge replication</a:t>
          </a:r>
          <a:endParaRPr lang="en-US"/>
        </a:p>
      </dgm:t>
    </dgm:pt>
    <dgm:pt modelId="{BF86B438-85FF-4C68-AE40-573E0155F868}" type="parTrans" cxnId="{25E7F1D9-29E8-4A0E-B978-C6ACDDFF800A}">
      <dgm:prSet/>
      <dgm:spPr/>
      <dgm:t>
        <a:bodyPr/>
        <a:lstStyle/>
        <a:p>
          <a:endParaRPr lang="en-US"/>
        </a:p>
      </dgm:t>
    </dgm:pt>
    <dgm:pt modelId="{AB07D818-AFCE-4482-9BB8-139D2DB2A1EB}" type="sibTrans" cxnId="{25E7F1D9-29E8-4A0E-B978-C6ACDDFF800A}">
      <dgm:prSet/>
      <dgm:spPr/>
      <dgm:t>
        <a:bodyPr/>
        <a:lstStyle/>
        <a:p>
          <a:endParaRPr lang="en-US"/>
        </a:p>
      </dgm:t>
    </dgm:pt>
    <dgm:pt modelId="{133D90AF-6E78-48A8-B545-1794371BEAF7}">
      <dgm:prSet/>
      <dgm:spPr/>
      <dgm:t>
        <a:bodyPr/>
        <a:lstStyle/>
        <a:p>
          <a:r>
            <a:rPr lang="en-US" baseline="0"/>
            <a:t>Distributed queries (linked servers)</a:t>
          </a:r>
          <a:endParaRPr lang="en-US"/>
        </a:p>
      </dgm:t>
    </dgm:pt>
    <dgm:pt modelId="{5A19B590-FF3F-419F-B64C-90B99DAC1BCD}" type="parTrans" cxnId="{9AD30B2D-5289-472C-98BA-37C19D67C0C9}">
      <dgm:prSet/>
      <dgm:spPr/>
      <dgm:t>
        <a:bodyPr/>
        <a:lstStyle/>
        <a:p>
          <a:endParaRPr lang="en-US"/>
        </a:p>
      </dgm:t>
    </dgm:pt>
    <dgm:pt modelId="{EEB5D132-E0F0-4B93-869C-EF8B2504D084}" type="sibTrans" cxnId="{9AD30B2D-5289-472C-98BA-37C19D67C0C9}">
      <dgm:prSet/>
      <dgm:spPr/>
      <dgm:t>
        <a:bodyPr/>
        <a:lstStyle/>
        <a:p>
          <a:endParaRPr lang="en-US"/>
        </a:p>
      </dgm:t>
    </dgm:pt>
    <dgm:pt modelId="{02544E90-BD9B-419B-B49F-22CD681FBB20}" type="pres">
      <dgm:prSet presAssocID="{D3A681D5-277D-432E-BD5F-4DD9C717E9AC}" presName="linear" presStyleCnt="0">
        <dgm:presLayoutVars>
          <dgm:dir/>
          <dgm:animLvl val="lvl"/>
          <dgm:resizeHandles val="exact"/>
        </dgm:presLayoutVars>
      </dgm:prSet>
      <dgm:spPr/>
    </dgm:pt>
    <dgm:pt modelId="{02693264-DB29-4E4E-BA15-90A36407CD9D}" type="pres">
      <dgm:prSet presAssocID="{077A23AF-FAD7-4793-851B-97EB9C415D3A}" presName="parentLin" presStyleCnt="0"/>
      <dgm:spPr/>
    </dgm:pt>
    <dgm:pt modelId="{83C36D48-9C36-4ADB-811F-9050F91E6C1B}" type="pres">
      <dgm:prSet presAssocID="{077A23AF-FAD7-4793-851B-97EB9C415D3A}" presName="parentLeftMargin" presStyleLbl="node1" presStyleIdx="0" presStyleCnt="3"/>
      <dgm:spPr/>
    </dgm:pt>
    <dgm:pt modelId="{6306CD7C-63CF-43E8-9741-0106DEE891DF}" type="pres">
      <dgm:prSet presAssocID="{077A23AF-FAD7-4793-851B-97EB9C415D3A}" presName="parentText" presStyleLbl="node1" presStyleIdx="0" presStyleCnt="3" custScaleX="124615">
        <dgm:presLayoutVars>
          <dgm:chMax val="0"/>
          <dgm:bulletEnabled val="1"/>
        </dgm:presLayoutVars>
      </dgm:prSet>
      <dgm:spPr/>
    </dgm:pt>
    <dgm:pt modelId="{CAD38B22-8E36-4D49-818E-A8D1FE79A6E4}" type="pres">
      <dgm:prSet presAssocID="{077A23AF-FAD7-4793-851B-97EB9C415D3A}" presName="negativeSpace" presStyleCnt="0"/>
      <dgm:spPr/>
    </dgm:pt>
    <dgm:pt modelId="{A1A3035E-4550-4E1B-98D0-6711C3578068}" type="pres">
      <dgm:prSet presAssocID="{077A23AF-FAD7-4793-851B-97EB9C415D3A}" presName="childText" presStyleLbl="conFgAcc1" presStyleIdx="0" presStyleCnt="3">
        <dgm:presLayoutVars>
          <dgm:bulletEnabled val="1"/>
        </dgm:presLayoutVars>
      </dgm:prSet>
      <dgm:spPr/>
    </dgm:pt>
    <dgm:pt modelId="{93FAC7CC-F51B-4309-8125-40FEA5766291}" type="pres">
      <dgm:prSet presAssocID="{EEBF26C1-F9A3-43E3-B6E4-A0DB4C19B8BC}" presName="spaceBetweenRectangles" presStyleCnt="0"/>
      <dgm:spPr/>
    </dgm:pt>
    <dgm:pt modelId="{CCC49A79-6876-4756-969B-1F81E1D4B24E}" type="pres">
      <dgm:prSet presAssocID="{17248034-9509-4FF8-8B7A-FC75575A053C}" presName="parentLin" presStyleCnt="0"/>
      <dgm:spPr/>
    </dgm:pt>
    <dgm:pt modelId="{666DA8C0-F891-4E53-A783-55E340D0C1AD}" type="pres">
      <dgm:prSet presAssocID="{17248034-9509-4FF8-8B7A-FC75575A053C}" presName="parentLeftMargin" presStyleLbl="node1" presStyleIdx="0" presStyleCnt="3"/>
      <dgm:spPr/>
    </dgm:pt>
    <dgm:pt modelId="{50EA6DEA-6355-49F2-8CDB-32F5F1EF41ED}" type="pres">
      <dgm:prSet presAssocID="{17248034-9509-4FF8-8B7A-FC75575A053C}" presName="parentText" presStyleLbl="node1" presStyleIdx="1" presStyleCnt="3" custScaleX="124615">
        <dgm:presLayoutVars>
          <dgm:chMax val="0"/>
          <dgm:bulletEnabled val="1"/>
        </dgm:presLayoutVars>
      </dgm:prSet>
      <dgm:spPr/>
    </dgm:pt>
    <dgm:pt modelId="{C450FA41-CC09-4002-B541-3915A3C4DDFB}" type="pres">
      <dgm:prSet presAssocID="{17248034-9509-4FF8-8B7A-FC75575A053C}" presName="negativeSpace" presStyleCnt="0"/>
      <dgm:spPr/>
    </dgm:pt>
    <dgm:pt modelId="{073BB653-6F43-4241-8F25-A2353636968E}" type="pres">
      <dgm:prSet presAssocID="{17248034-9509-4FF8-8B7A-FC75575A053C}" presName="childText" presStyleLbl="conFgAcc1" presStyleIdx="1" presStyleCnt="3">
        <dgm:presLayoutVars>
          <dgm:bulletEnabled val="1"/>
        </dgm:presLayoutVars>
      </dgm:prSet>
      <dgm:spPr/>
    </dgm:pt>
    <dgm:pt modelId="{CC0FD651-2595-4F32-B76D-1410EF237FF8}" type="pres">
      <dgm:prSet presAssocID="{07CE1204-7426-45C6-ACE8-7BC958D6C0E7}" presName="spaceBetweenRectangles" presStyleCnt="0"/>
      <dgm:spPr/>
    </dgm:pt>
    <dgm:pt modelId="{B72B6474-A941-4C5E-AAB8-CC5EFAA99B84}" type="pres">
      <dgm:prSet presAssocID="{1D0F2424-C519-4405-9A5C-0654860083BD}" presName="parentLin" presStyleCnt="0"/>
      <dgm:spPr/>
    </dgm:pt>
    <dgm:pt modelId="{75577A72-497A-4175-8E37-3B4ECC6F929C}" type="pres">
      <dgm:prSet presAssocID="{1D0F2424-C519-4405-9A5C-0654860083BD}" presName="parentLeftMargin" presStyleLbl="node1" presStyleIdx="1" presStyleCnt="3"/>
      <dgm:spPr/>
    </dgm:pt>
    <dgm:pt modelId="{EFFD6812-716D-4A5D-9322-6B28E7DFD5B4}" type="pres">
      <dgm:prSet presAssocID="{1D0F2424-C519-4405-9A5C-0654860083BD}" presName="parentText" presStyleLbl="node1" presStyleIdx="2" presStyleCnt="3" custScaleX="124615">
        <dgm:presLayoutVars>
          <dgm:chMax val="0"/>
          <dgm:bulletEnabled val="1"/>
        </dgm:presLayoutVars>
      </dgm:prSet>
      <dgm:spPr/>
    </dgm:pt>
    <dgm:pt modelId="{B79BB613-C59B-4923-98F7-2DAE76118094}" type="pres">
      <dgm:prSet presAssocID="{1D0F2424-C519-4405-9A5C-0654860083BD}" presName="negativeSpace" presStyleCnt="0"/>
      <dgm:spPr/>
    </dgm:pt>
    <dgm:pt modelId="{6EB5E983-7483-4768-827A-AE2B79CD8BAA}" type="pres">
      <dgm:prSet presAssocID="{1D0F2424-C519-4405-9A5C-0654860083BD}" presName="childText" presStyleLbl="conFgAcc1" presStyleIdx="2" presStyleCnt="3">
        <dgm:presLayoutVars>
          <dgm:bulletEnabled val="1"/>
        </dgm:presLayoutVars>
      </dgm:prSet>
      <dgm:spPr/>
    </dgm:pt>
  </dgm:ptLst>
  <dgm:cxnLst>
    <dgm:cxn modelId="{8549E402-37DA-4DD1-8965-86BA5F3F7412}" srcId="{D3A681D5-277D-432E-BD5F-4DD9C717E9AC}" destId="{17248034-9509-4FF8-8B7A-FC75575A053C}" srcOrd="1" destOrd="0" parTransId="{8F9F28AD-3DB5-49B2-83F5-624EA0F2ACA2}" sibTransId="{07CE1204-7426-45C6-ACE8-7BC958D6C0E7}"/>
    <dgm:cxn modelId="{4C521410-B060-448B-8EF8-AF9AC6CDA818}" type="presOf" srcId="{908E69F7-26F2-447F-989B-9855929FB999}" destId="{073BB653-6F43-4241-8F25-A2353636968E}" srcOrd="0" destOrd="1" presId="urn:microsoft.com/office/officeart/2005/8/layout/list1"/>
    <dgm:cxn modelId="{7879A514-0E00-49F5-9905-DC2F1614BADD}" type="presOf" srcId="{133D90AF-6E78-48A8-B545-1794371BEAF7}" destId="{6EB5E983-7483-4768-827A-AE2B79CD8BAA}" srcOrd="0" destOrd="1" presId="urn:microsoft.com/office/officeart/2005/8/layout/list1"/>
    <dgm:cxn modelId="{66CE3E1B-34E3-4ED7-AB23-473F6571584E}" type="presOf" srcId="{077A23AF-FAD7-4793-851B-97EB9C415D3A}" destId="{83C36D48-9C36-4ADB-811F-9050F91E6C1B}" srcOrd="0" destOrd="0" presId="urn:microsoft.com/office/officeart/2005/8/layout/list1"/>
    <dgm:cxn modelId="{9414A81D-44F8-425C-8CE2-82BC65CBA7E1}" srcId="{D3A681D5-277D-432E-BD5F-4DD9C717E9AC}" destId="{077A23AF-FAD7-4793-851B-97EB9C415D3A}" srcOrd="0" destOrd="0" parTransId="{289ED411-C1C4-48D9-B2A9-50AC65800B3F}" sibTransId="{EEBF26C1-F9A3-43E3-B6E4-A0DB4C19B8BC}"/>
    <dgm:cxn modelId="{89BEDE24-36B1-4633-803D-9E374E48F923}" srcId="{17248034-9509-4FF8-8B7A-FC75575A053C}" destId="{908E69F7-26F2-447F-989B-9855929FB999}" srcOrd="1" destOrd="0" parTransId="{66522969-E2D4-47EC-8D6A-38F1ABE7BD7F}" sibTransId="{CDBDCCD2-66A0-4E3B-BAE8-B905C2B09531}"/>
    <dgm:cxn modelId="{9AD30B2D-5289-472C-98BA-37C19D67C0C9}" srcId="{1D0F2424-C519-4405-9A5C-0654860083BD}" destId="{133D90AF-6E78-48A8-B545-1794371BEAF7}" srcOrd="1" destOrd="0" parTransId="{5A19B590-FF3F-419F-B64C-90B99DAC1BCD}" sibTransId="{EEB5D132-E0F0-4B93-869C-EF8B2504D084}"/>
    <dgm:cxn modelId="{AB04E134-D444-4648-A3DC-5C496DE2FC55}" type="presOf" srcId="{1D0F2424-C519-4405-9A5C-0654860083BD}" destId="{EFFD6812-716D-4A5D-9322-6B28E7DFD5B4}" srcOrd="1" destOrd="0" presId="urn:microsoft.com/office/officeart/2005/8/layout/list1"/>
    <dgm:cxn modelId="{955DA339-4A7F-4CD6-8B9B-B76F5B0A4575}" type="presOf" srcId="{17248034-9509-4FF8-8B7A-FC75575A053C}" destId="{50EA6DEA-6355-49F2-8CDB-32F5F1EF41ED}" srcOrd="1" destOrd="0" presId="urn:microsoft.com/office/officeart/2005/8/layout/list1"/>
    <dgm:cxn modelId="{309C4444-0F75-4663-B74A-03FF5CE97030}" type="presOf" srcId="{17248034-9509-4FF8-8B7A-FC75575A053C}" destId="{666DA8C0-F891-4E53-A783-55E340D0C1AD}" srcOrd="0" destOrd="0" presId="urn:microsoft.com/office/officeart/2005/8/layout/list1"/>
    <dgm:cxn modelId="{CD1FE47F-A093-4C37-9FA9-2F55EE697427}" type="presOf" srcId="{077A23AF-FAD7-4793-851B-97EB9C415D3A}" destId="{6306CD7C-63CF-43E8-9741-0106DEE891DF}" srcOrd="1" destOrd="0" presId="urn:microsoft.com/office/officeart/2005/8/layout/list1"/>
    <dgm:cxn modelId="{5C312B83-222D-416D-9020-EBBEB316EE71}" type="presOf" srcId="{6DB4EEF3-0284-40A0-B8E6-737A68325D68}" destId="{A1A3035E-4550-4E1B-98D0-6711C3578068}" srcOrd="0" destOrd="0" presId="urn:microsoft.com/office/officeart/2005/8/layout/list1"/>
    <dgm:cxn modelId="{918A3A8D-FDFC-4D47-9C81-1F2CC24410FA}" type="presOf" srcId="{8D2455FA-0CA3-42CA-A38F-E449E727EB3B}" destId="{073BB653-6F43-4241-8F25-A2353636968E}" srcOrd="0" destOrd="0" presId="urn:microsoft.com/office/officeart/2005/8/layout/list1"/>
    <dgm:cxn modelId="{CD700AAC-3BE4-4C47-A6FC-88496C3078F2}" srcId="{077A23AF-FAD7-4793-851B-97EB9C415D3A}" destId="{6DB4EEF3-0284-40A0-B8E6-737A68325D68}" srcOrd="0" destOrd="0" parTransId="{F3F3C8E3-E055-484A-AE37-3E8992641CF6}" sibTransId="{09B4EBDF-3C60-4E26-9E85-07DC923C89DD}"/>
    <dgm:cxn modelId="{25E7F1D9-29E8-4A0E-B978-C6ACDDFF800A}" srcId="{1D0F2424-C519-4405-9A5C-0654860083BD}" destId="{554EC4BC-B4F7-4A7F-92EA-B42BF139C4EB}" srcOrd="0" destOrd="0" parTransId="{BF86B438-85FF-4C68-AE40-573E0155F868}" sibTransId="{AB07D818-AFCE-4482-9BB8-139D2DB2A1EB}"/>
    <dgm:cxn modelId="{E431B3E0-BD62-4FF2-BA71-46E4715C6151}" type="presOf" srcId="{D3A681D5-277D-432E-BD5F-4DD9C717E9AC}" destId="{02544E90-BD9B-419B-B49F-22CD681FBB20}" srcOrd="0" destOrd="0" presId="urn:microsoft.com/office/officeart/2005/8/layout/list1"/>
    <dgm:cxn modelId="{349C5AEA-C87A-49C2-B69B-A76C2DBE6B43}" type="presOf" srcId="{1D0F2424-C519-4405-9A5C-0654860083BD}" destId="{75577A72-497A-4175-8E37-3B4ECC6F929C}" srcOrd="0" destOrd="0" presId="urn:microsoft.com/office/officeart/2005/8/layout/list1"/>
    <dgm:cxn modelId="{431A08EB-A831-4893-A353-C7FEA168CF09}" type="presOf" srcId="{554EC4BC-B4F7-4A7F-92EA-B42BF139C4EB}" destId="{6EB5E983-7483-4768-827A-AE2B79CD8BAA}" srcOrd="0" destOrd="0" presId="urn:microsoft.com/office/officeart/2005/8/layout/list1"/>
    <dgm:cxn modelId="{130166F8-8810-4920-92E2-05CEDA8C7AD0}" srcId="{17248034-9509-4FF8-8B7A-FC75575A053C}" destId="{8D2455FA-0CA3-42CA-A38F-E449E727EB3B}" srcOrd="0" destOrd="0" parTransId="{278A5EA5-84E5-43E5-B514-4476D4298625}" sibTransId="{07CCC88B-5E72-4E43-B004-3EF7A74F3C60}"/>
    <dgm:cxn modelId="{10A6D6FD-2E9A-47EF-9235-C7508EF8F410}" srcId="{D3A681D5-277D-432E-BD5F-4DD9C717E9AC}" destId="{1D0F2424-C519-4405-9A5C-0654860083BD}" srcOrd="2" destOrd="0" parTransId="{9B16CC24-0271-4086-B6C8-82EE13BE7EFC}" sibTransId="{A973D43B-3150-45C9-AD52-68D4F51E4019}"/>
    <dgm:cxn modelId="{61C2B13C-1EA2-4A10-B0CD-1814A1B7F2A3}" type="presParOf" srcId="{02544E90-BD9B-419B-B49F-22CD681FBB20}" destId="{02693264-DB29-4E4E-BA15-90A36407CD9D}" srcOrd="0" destOrd="0" presId="urn:microsoft.com/office/officeart/2005/8/layout/list1"/>
    <dgm:cxn modelId="{9B371C13-F190-4E7C-981E-D79CEFA1D674}" type="presParOf" srcId="{02693264-DB29-4E4E-BA15-90A36407CD9D}" destId="{83C36D48-9C36-4ADB-811F-9050F91E6C1B}" srcOrd="0" destOrd="0" presId="urn:microsoft.com/office/officeart/2005/8/layout/list1"/>
    <dgm:cxn modelId="{3B0D8015-D184-4C25-8585-CB3B8D116ADB}" type="presParOf" srcId="{02693264-DB29-4E4E-BA15-90A36407CD9D}" destId="{6306CD7C-63CF-43E8-9741-0106DEE891DF}" srcOrd="1" destOrd="0" presId="urn:microsoft.com/office/officeart/2005/8/layout/list1"/>
    <dgm:cxn modelId="{9CA1D0A5-5B50-4A73-91F1-45D5E5395980}" type="presParOf" srcId="{02544E90-BD9B-419B-B49F-22CD681FBB20}" destId="{CAD38B22-8E36-4D49-818E-A8D1FE79A6E4}" srcOrd="1" destOrd="0" presId="urn:microsoft.com/office/officeart/2005/8/layout/list1"/>
    <dgm:cxn modelId="{3F3119F6-49B1-42C3-9B63-1BE2D2BA261F}" type="presParOf" srcId="{02544E90-BD9B-419B-B49F-22CD681FBB20}" destId="{A1A3035E-4550-4E1B-98D0-6711C3578068}" srcOrd="2" destOrd="0" presId="urn:microsoft.com/office/officeart/2005/8/layout/list1"/>
    <dgm:cxn modelId="{13B63091-A786-484A-9A62-344FC9B5FCAF}" type="presParOf" srcId="{02544E90-BD9B-419B-B49F-22CD681FBB20}" destId="{93FAC7CC-F51B-4309-8125-40FEA5766291}" srcOrd="3" destOrd="0" presId="urn:microsoft.com/office/officeart/2005/8/layout/list1"/>
    <dgm:cxn modelId="{1723FF61-7E08-49A3-B8EC-6DB858B02175}" type="presParOf" srcId="{02544E90-BD9B-419B-B49F-22CD681FBB20}" destId="{CCC49A79-6876-4756-969B-1F81E1D4B24E}" srcOrd="4" destOrd="0" presId="urn:microsoft.com/office/officeart/2005/8/layout/list1"/>
    <dgm:cxn modelId="{80A35B0F-58F4-425C-B1D6-B980B88A5BBD}" type="presParOf" srcId="{CCC49A79-6876-4756-969B-1F81E1D4B24E}" destId="{666DA8C0-F891-4E53-A783-55E340D0C1AD}" srcOrd="0" destOrd="0" presId="urn:microsoft.com/office/officeart/2005/8/layout/list1"/>
    <dgm:cxn modelId="{2DE46DB8-DE4E-4B9A-893E-4217C28718A5}" type="presParOf" srcId="{CCC49A79-6876-4756-969B-1F81E1D4B24E}" destId="{50EA6DEA-6355-49F2-8CDB-32F5F1EF41ED}" srcOrd="1" destOrd="0" presId="urn:microsoft.com/office/officeart/2005/8/layout/list1"/>
    <dgm:cxn modelId="{4C9815D2-BFAD-43C9-911D-A4798167A737}" type="presParOf" srcId="{02544E90-BD9B-419B-B49F-22CD681FBB20}" destId="{C450FA41-CC09-4002-B541-3915A3C4DDFB}" srcOrd="5" destOrd="0" presId="urn:microsoft.com/office/officeart/2005/8/layout/list1"/>
    <dgm:cxn modelId="{DF0EBCE1-A072-415F-9FB7-F049DA2F206E}" type="presParOf" srcId="{02544E90-BD9B-419B-B49F-22CD681FBB20}" destId="{073BB653-6F43-4241-8F25-A2353636968E}" srcOrd="6" destOrd="0" presId="urn:microsoft.com/office/officeart/2005/8/layout/list1"/>
    <dgm:cxn modelId="{0E142B5F-FD8B-46EB-A2B6-7937516333A1}" type="presParOf" srcId="{02544E90-BD9B-419B-B49F-22CD681FBB20}" destId="{CC0FD651-2595-4F32-B76D-1410EF237FF8}" srcOrd="7" destOrd="0" presId="urn:microsoft.com/office/officeart/2005/8/layout/list1"/>
    <dgm:cxn modelId="{39746EFB-707C-4445-B6AB-C5EB3E6A0744}" type="presParOf" srcId="{02544E90-BD9B-419B-B49F-22CD681FBB20}" destId="{B72B6474-A941-4C5E-AAB8-CC5EFAA99B84}" srcOrd="8" destOrd="0" presId="urn:microsoft.com/office/officeart/2005/8/layout/list1"/>
    <dgm:cxn modelId="{E6334CEA-CA2D-4FD7-943D-2823DD69012B}" type="presParOf" srcId="{B72B6474-A941-4C5E-AAB8-CC5EFAA99B84}" destId="{75577A72-497A-4175-8E37-3B4ECC6F929C}" srcOrd="0" destOrd="0" presId="urn:microsoft.com/office/officeart/2005/8/layout/list1"/>
    <dgm:cxn modelId="{4D8C70B1-ACCC-4CCF-B535-EC7BC377C8CA}" type="presParOf" srcId="{B72B6474-A941-4C5E-AAB8-CC5EFAA99B84}" destId="{EFFD6812-716D-4A5D-9322-6B28E7DFD5B4}" srcOrd="1" destOrd="0" presId="urn:microsoft.com/office/officeart/2005/8/layout/list1"/>
    <dgm:cxn modelId="{88F53EB9-3798-47FE-9992-B24819C7BB1A}" type="presParOf" srcId="{02544E90-BD9B-419B-B49F-22CD681FBB20}" destId="{B79BB613-C59B-4923-98F7-2DAE76118094}" srcOrd="9" destOrd="0" presId="urn:microsoft.com/office/officeart/2005/8/layout/list1"/>
    <dgm:cxn modelId="{04DF1292-1D9A-48BA-B478-61A5C79A5A48}" type="presParOf" srcId="{02544E90-BD9B-419B-B49F-22CD681FBB20}" destId="{6EB5E983-7483-4768-827A-AE2B79CD8BAA}"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F3EC5A9A-5735-4866-9FAB-544BFB1F721E}" type="doc">
      <dgm:prSet loTypeId="urn:microsoft.com/office/officeart/2005/8/layout/list1" loCatId="list" qsTypeId="urn:microsoft.com/office/officeart/2005/8/quickstyle/simple2" qsCatId="simple" csTypeId="urn:microsoft.com/office/officeart/2005/8/colors/colorful2" csCatId="colorful"/>
      <dgm:spPr/>
      <dgm:t>
        <a:bodyPr/>
        <a:lstStyle/>
        <a:p>
          <a:endParaRPr lang="en-US"/>
        </a:p>
      </dgm:t>
    </dgm:pt>
    <dgm:pt modelId="{951F36F3-8791-4F0C-A47A-3B6BEC46FBE8}">
      <dgm:prSet custT="1"/>
      <dgm:spPr/>
      <dgm:t>
        <a:bodyPr/>
        <a:lstStyle/>
        <a:p>
          <a:pPr>
            <a:lnSpc>
              <a:spcPct val="100000"/>
            </a:lnSpc>
          </a:pPr>
          <a:r>
            <a:rPr lang="en-US" sz="2400" baseline="0"/>
            <a:t>Data corruption</a:t>
          </a:r>
          <a:endParaRPr lang="en-US" sz="2400"/>
        </a:p>
      </dgm:t>
    </dgm:pt>
    <dgm:pt modelId="{7071CA16-2032-4731-BC11-58A77F0AC735}" type="parTrans" cxnId="{4B1C3203-81BF-4A7B-907B-E2D083C3B225}">
      <dgm:prSet/>
      <dgm:spPr/>
      <dgm:t>
        <a:bodyPr/>
        <a:lstStyle/>
        <a:p>
          <a:endParaRPr lang="en-US"/>
        </a:p>
      </dgm:t>
    </dgm:pt>
    <dgm:pt modelId="{0CE6FE40-DDA2-43B1-BD0E-F8C0E6B2C626}" type="sibTrans" cxnId="{4B1C3203-81BF-4A7B-907B-E2D083C3B225}">
      <dgm:prSet/>
      <dgm:spPr/>
      <dgm:t>
        <a:bodyPr/>
        <a:lstStyle/>
        <a:p>
          <a:endParaRPr lang="en-US"/>
        </a:p>
      </dgm:t>
    </dgm:pt>
    <dgm:pt modelId="{398531F1-EC84-4E7C-8A30-6D8E8E9DBE4F}">
      <dgm:prSet/>
      <dgm:spPr/>
      <dgm:t>
        <a:bodyPr/>
        <a:lstStyle/>
        <a:p>
          <a:pPr>
            <a:lnSpc>
              <a:spcPct val="100000"/>
            </a:lnSpc>
          </a:pPr>
          <a:r>
            <a:rPr lang="en-US" baseline="0"/>
            <a:t>Improper use of the option </a:t>
          </a:r>
          <a:r>
            <a:rPr lang="en-US" b="1" baseline="0"/>
            <a:t>ALLOW_ENCRYPTED_VALUE_MODIFICATIONS</a:t>
          </a:r>
          <a:endParaRPr lang="en-US"/>
        </a:p>
      </dgm:t>
    </dgm:pt>
    <dgm:pt modelId="{B8B6BF72-BC76-42AF-B8C3-7899A019C798}" type="parTrans" cxnId="{DAA326DF-7C11-459D-BF6A-2FD6345B56F2}">
      <dgm:prSet/>
      <dgm:spPr/>
      <dgm:t>
        <a:bodyPr/>
        <a:lstStyle/>
        <a:p>
          <a:endParaRPr lang="en-US"/>
        </a:p>
      </dgm:t>
    </dgm:pt>
    <dgm:pt modelId="{FA2DA146-52C6-437F-A461-46EAB7F51394}" type="sibTrans" cxnId="{DAA326DF-7C11-459D-BF6A-2FD6345B56F2}">
      <dgm:prSet/>
      <dgm:spPr/>
      <dgm:t>
        <a:bodyPr/>
        <a:lstStyle/>
        <a:p>
          <a:endParaRPr lang="en-US"/>
        </a:p>
      </dgm:t>
    </dgm:pt>
    <dgm:pt modelId="{724484DA-5DC4-464B-8197-0E6204F8FE83}">
      <dgm:prSet/>
      <dgm:spPr/>
      <dgm:t>
        <a:bodyPr/>
        <a:lstStyle/>
        <a:p>
          <a:pPr>
            <a:lnSpc>
              <a:spcPct val="100000"/>
            </a:lnSpc>
          </a:pPr>
          <a:r>
            <a:rPr lang="en-US" baseline="0"/>
            <a:t>Accidentally copy data that is not correctly encrypted using the encryption scheme</a:t>
          </a:r>
          <a:endParaRPr lang="en-US"/>
        </a:p>
      </dgm:t>
    </dgm:pt>
    <dgm:pt modelId="{57458DBB-0C0C-4492-927B-F8692E4ABB72}" type="parTrans" cxnId="{552C84A7-22B4-4994-BB8C-D0B2F0E0E1F7}">
      <dgm:prSet/>
      <dgm:spPr/>
      <dgm:t>
        <a:bodyPr/>
        <a:lstStyle/>
        <a:p>
          <a:endParaRPr lang="en-US"/>
        </a:p>
      </dgm:t>
    </dgm:pt>
    <dgm:pt modelId="{EFCA2416-8EB8-4ECE-B093-0B475499694B}" type="sibTrans" cxnId="{552C84A7-22B4-4994-BB8C-D0B2F0E0E1F7}">
      <dgm:prSet/>
      <dgm:spPr/>
      <dgm:t>
        <a:bodyPr/>
        <a:lstStyle/>
        <a:p>
          <a:endParaRPr lang="en-US"/>
        </a:p>
      </dgm:t>
    </dgm:pt>
    <dgm:pt modelId="{25DDAB18-D3E4-4EDA-BEE9-54FEA1CEE32A}">
      <dgm:prSet custT="1"/>
      <dgm:spPr/>
      <dgm:t>
        <a:bodyPr/>
        <a:lstStyle/>
        <a:p>
          <a:pPr>
            <a:lnSpc>
              <a:spcPct val="100000"/>
            </a:lnSpc>
          </a:pPr>
          <a:r>
            <a:rPr lang="en-US" sz="2400" baseline="0"/>
            <a:t>Tool limitations</a:t>
          </a:r>
          <a:endParaRPr lang="en-US" sz="2400"/>
        </a:p>
      </dgm:t>
    </dgm:pt>
    <dgm:pt modelId="{190521DC-3AD9-4DC8-8DA4-827EA80EDC40}" type="parTrans" cxnId="{09C08B3C-94B6-48FC-A17F-1DA541BDCE74}">
      <dgm:prSet/>
      <dgm:spPr/>
      <dgm:t>
        <a:bodyPr/>
        <a:lstStyle/>
        <a:p>
          <a:endParaRPr lang="en-US"/>
        </a:p>
      </dgm:t>
    </dgm:pt>
    <dgm:pt modelId="{65AF052A-58D6-4505-9AC3-8EF45CC3416B}" type="sibTrans" cxnId="{09C08B3C-94B6-48FC-A17F-1DA541BDCE74}">
      <dgm:prSet/>
      <dgm:spPr/>
      <dgm:t>
        <a:bodyPr/>
        <a:lstStyle/>
        <a:p>
          <a:endParaRPr lang="en-US"/>
        </a:p>
      </dgm:t>
    </dgm:pt>
    <dgm:pt modelId="{AEF9A6C5-1B7C-4C53-802A-53BBE524585F}">
      <dgm:prSet/>
      <dgm:spPr/>
      <dgm:t>
        <a:bodyPr/>
        <a:lstStyle/>
        <a:p>
          <a:pPr>
            <a:lnSpc>
              <a:spcPct val="100000"/>
            </a:lnSpc>
          </a:pPr>
          <a:r>
            <a:rPr lang="en-US" baseline="0"/>
            <a:t>Always Encrypted is not supported in SQL Server Data Tools (SSDT)</a:t>
          </a:r>
          <a:endParaRPr lang="en-US"/>
        </a:p>
      </dgm:t>
    </dgm:pt>
    <dgm:pt modelId="{C4DD6141-2405-4264-A4A4-800257B4671E}" type="parTrans" cxnId="{0D3A3B4E-4EE9-42F8-ADB3-01848268ACCA}">
      <dgm:prSet/>
      <dgm:spPr/>
      <dgm:t>
        <a:bodyPr/>
        <a:lstStyle/>
        <a:p>
          <a:endParaRPr lang="en-US"/>
        </a:p>
      </dgm:t>
    </dgm:pt>
    <dgm:pt modelId="{938CE2E2-DB14-4631-96DC-C319420071D9}" type="sibTrans" cxnId="{0D3A3B4E-4EE9-42F8-ADB3-01848268ACCA}">
      <dgm:prSet/>
      <dgm:spPr/>
      <dgm:t>
        <a:bodyPr/>
        <a:lstStyle/>
        <a:p>
          <a:endParaRPr lang="en-US"/>
        </a:p>
      </dgm:t>
    </dgm:pt>
    <dgm:pt modelId="{5D8524CD-D2AF-4CCE-B183-F41FA9AB0046}">
      <dgm:prSet/>
      <dgm:spPr/>
      <dgm:t>
        <a:bodyPr/>
        <a:lstStyle/>
        <a:p>
          <a:pPr>
            <a:lnSpc>
              <a:spcPct val="100000"/>
            </a:lnSpc>
          </a:pPr>
          <a:r>
            <a:rPr lang="en-US" baseline="0"/>
            <a:t>The only operations supported for databases using Always Encrypted in sqlpackage.exe are Export and Import </a:t>
          </a:r>
          <a:endParaRPr lang="en-US"/>
        </a:p>
      </dgm:t>
    </dgm:pt>
    <dgm:pt modelId="{5ED531B9-38BB-44CD-AD0B-F116C3B41AA0}" type="parTrans" cxnId="{0DB9B1D3-4ED9-4114-909D-6906A8C7E072}">
      <dgm:prSet/>
      <dgm:spPr/>
      <dgm:t>
        <a:bodyPr/>
        <a:lstStyle/>
        <a:p>
          <a:endParaRPr lang="en-US"/>
        </a:p>
      </dgm:t>
    </dgm:pt>
    <dgm:pt modelId="{4B2DE214-3383-4823-9727-FF7A0FCA5765}" type="sibTrans" cxnId="{0DB9B1D3-4ED9-4114-909D-6906A8C7E072}">
      <dgm:prSet/>
      <dgm:spPr/>
      <dgm:t>
        <a:bodyPr/>
        <a:lstStyle/>
        <a:p>
          <a:endParaRPr lang="en-US"/>
        </a:p>
      </dgm:t>
    </dgm:pt>
    <dgm:pt modelId="{9144B178-9EFF-4F10-BF01-73B7081DB5F7}" type="pres">
      <dgm:prSet presAssocID="{F3EC5A9A-5735-4866-9FAB-544BFB1F721E}" presName="linear" presStyleCnt="0">
        <dgm:presLayoutVars>
          <dgm:dir/>
          <dgm:animLvl val="lvl"/>
          <dgm:resizeHandles val="exact"/>
        </dgm:presLayoutVars>
      </dgm:prSet>
      <dgm:spPr/>
    </dgm:pt>
    <dgm:pt modelId="{DACADDC3-0F42-4E64-8C19-4A6C77B33B20}" type="pres">
      <dgm:prSet presAssocID="{951F36F3-8791-4F0C-A47A-3B6BEC46FBE8}" presName="parentLin" presStyleCnt="0"/>
      <dgm:spPr/>
    </dgm:pt>
    <dgm:pt modelId="{72D81CEA-DF82-4F70-B269-F12BE66194F0}" type="pres">
      <dgm:prSet presAssocID="{951F36F3-8791-4F0C-A47A-3B6BEC46FBE8}" presName="parentLeftMargin" presStyleLbl="node1" presStyleIdx="0" presStyleCnt="2"/>
      <dgm:spPr/>
    </dgm:pt>
    <dgm:pt modelId="{68DD7CD2-1364-430F-B51B-77C305F236DD}" type="pres">
      <dgm:prSet presAssocID="{951F36F3-8791-4F0C-A47A-3B6BEC46FBE8}" presName="parentText" presStyleLbl="node1" presStyleIdx="0" presStyleCnt="2">
        <dgm:presLayoutVars>
          <dgm:chMax val="0"/>
          <dgm:bulletEnabled val="1"/>
        </dgm:presLayoutVars>
      </dgm:prSet>
      <dgm:spPr/>
    </dgm:pt>
    <dgm:pt modelId="{C6FDD7D8-FD52-40B5-A1E1-5C52EAD3E4EE}" type="pres">
      <dgm:prSet presAssocID="{951F36F3-8791-4F0C-A47A-3B6BEC46FBE8}" presName="negativeSpace" presStyleCnt="0"/>
      <dgm:spPr/>
    </dgm:pt>
    <dgm:pt modelId="{BDD113F8-9ED2-4C8B-A5D9-270957FF8CC0}" type="pres">
      <dgm:prSet presAssocID="{951F36F3-8791-4F0C-A47A-3B6BEC46FBE8}" presName="childText" presStyleLbl="conFgAcc1" presStyleIdx="0" presStyleCnt="2">
        <dgm:presLayoutVars>
          <dgm:bulletEnabled val="1"/>
        </dgm:presLayoutVars>
      </dgm:prSet>
      <dgm:spPr/>
    </dgm:pt>
    <dgm:pt modelId="{FC9A0AAF-53B3-40F0-9315-26CCEFE11510}" type="pres">
      <dgm:prSet presAssocID="{0CE6FE40-DDA2-43B1-BD0E-F8C0E6B2C626}" presName="spaceBetweenRectangles" presStyleCnt="0"/>
      <dgm:spPr/>
    </dgm:pt>
    <dgm:pt modelId="{32FB5963-84B6-4853-8943-D74F12FD392F}" type="pres">
      <dgm:prSet presAssocID="{25DDAB18-D3E4-4EDA-BEE9-54FEA1CEE32A}" presName="parentLin" presStyleCnt="0"/>
      <dgm:spPr/>
    </dgm:pt>
    <dgm:pt modelId="{0658CD70-E066-416B-8D60-7A9B64CC7700}" type="pres">
      <dgm:prSet presAssocID="{25DDAB18-D3E4-4EDA-BEE9-54FEA1CEE32A}" presName="parentLeftMargin" presStyleLbl="node1" presStyleIdx="0" presStyleCnt="2"/>
      <dgm:spPr/>
    </dgm:pt>
    <dgm:pt modelId="{45E177D8-5216-4C25-A576-62CD0CD58BA8}" type="pres">
      <dgm:prSet presAssocID="{25DDAB18-D3E4-4EDA-BEE9-54FEA1CEE32A}" presName="parentText" presStyleLbl="node1" presStyleIdx="1" presStyleCnt="2">
        <dgm:presLayoutVars>
          <dgm:chMax val="0"/>
          <dgm:bulletEnabled val="1"/>
        </dgm:presLayoutVars>
      </dgm:prSet>
      <dgm:spPr/>
    </dgm:pt>
    <dgm:pt modelId="{B4B8E7C9-0F20-4212-B891-C0C5B969F6E1}" type="pres">
      <dgm:prSet presAssocID="{25DDAB18-D3E4-4EDA-BEE9-54FEA1CEE32A}" presName="negativeSpace" presStyleCnt="0"/>
      <dgm:spPr/>
    </dgm:pt>
    <dgm:pt modelId="{6BDCAA89-02E5-496D-A89A-5223E3A26367}" type="pres">
      <dgm:prSet presAssocID="{25DDAB18-D3E4-4EDA-BEE9-54FEA1CEE32A}" presName="childText" presStyleLbl="conFgAcc1" presStyleIdx="1" presStyleCnt="2">
        <dgm:presLayoutVars>
          <dgm:bulletEnabled val="1"/>
        </dgm:presLayoutVars>
      </dgm:prSet>
      <dgm:spPr/>
    </dgm:pt>
  </dgm:ptLst>
  <dgm:cxnLst>
    <dgm:cxn modelId="{4B1C3203-81BF-4A7B-907B-E2D083C3B225}" srcId="{F3EC5A9A-5735-4866-9FAB-544BFB1F721E}" destId="{951F36F3-8791-4F0C-A47A-3B6BEC46FBE8}" srcOrd="0" destOrd="0" parTransId="{7071CA16-2032-4731-BC11-58A77F0AC735}" sibTransId="{0CE6FE40-DDA2-43B1-BD0E-F8C0E6B2C626}"/>
    <dgm:cxn modelId="{09775618-FB17-40F4-B471-6503EC856060}" type="presOf" srcId="{398531F1-EC84-4E7C-8A30-6D8E8E9DBE4F}" destId="{BDD113F8-9ED2-4C8B-A5D9-270957FF8CC0}" srcOrd="0" destOrd="0" presId="urn:microsoft.com/office/officeart/2005/8/layout/list1"/>
    <dgm:cxn modelId="{AC767235-5BF4-4D76-BAB1-75F2F9DBA736}" type="presOf" srcId="{F3EC5A9A-5735-4866-9FAB-544BFB1F721E}" destId="{9144B178-9EFF-4F10-BF01-73B7081DB5F7}" srcOrd="0" destOrd="0" presId="urn:microsoft.com/office/officeart/2005/8/layout/list1"/>
    <dgm:cxn modelId="{09C08B3C-94B6-48FC-A17F-1DA541BDCE74}" srcId="{F3EC5A9A-5735-4866-9FAB-544BFB1F721E}" destId="{25DDAB18-D3E4-4EDA-BEE9-54FEA1CEE32A}" srcOrd="1" destOrd="0" parTransId="{190521DC-3AD9-4DC8-8DA4-827EA80EDC40}" sibTransId="{65AF052A-58D6-4505-9AC3-8EF45CC3416B}"/>
    <dgm:cxn modelId="{B9005C68-EA48-4BCE-B792-8ADC9B3926E6}" type="presOf" srcId="{AEF9A6C5-1B7C-4C53-802A-53BBE524585F}" destId="{6BDCAA89-02E5-496D-A89A-5223E3A26367}" srcOrd="0" destOrd="0" presId="urn:microsoft.com/office/officeart/2005/8/layout/list1"/>
    <dgm:cxn modelId="{71EBAB4D-8800-45AE-94DA-2D083DDC407F}" type="presOf" srcId="{25DDAB18-D3E4-4EDA-BEE9-54FEA1CEE32A}" destId="{45E177D8-5216-4C25-A576-62CD0CD58BA8}" srcOrd="1" destOrd="0" presId="urn:microsoft.com/office/officeart/2005/8/layout/list1"/>
    <dgm:cxn modelId="{0D3A3B4E-4EE9-42F8-ADB3-01848268ACCA}" srcId="{25DDAB18-D3E4-4EDA-BEE9-54FEA1CEE32A}" destId="{AEF9A6C5-1B7C-4C53-802A-53BBE524585F}" srcOrd="0" destOrd="0" parTransId="{C4DD6141-2405-4264-A4A4-800257B4671E}" sibTransId="{938CE2E2-DB14-4631-96DC-C319420071D9}"/>
    <dgm:cxn modelId="{C4F9ED9B-19E4-4383-B69B-4BDDB8CE7247}" type="presOf" srcId="{951F36F3-8791-4F0C-A47A-3B6BEC46FBE8}" destId="{72D81CEA-DF82-4F70-B269-F12BE66194F0}" srcOrd="0" destOrd="0" presId="urn:microsoft.com/office/officeart/2005/8/layout/list1"/>
    <dgm:cxn modelId="{CF5215A0-DC06-4EFA-9C09-E8CD0151E382}" type="presOf" srcId="{724484DA-5DC4-464B-8197-0E6204F8FE83}" destId="{BDD113F8-9ED2-4C8B-A5D9-270957FF8CC0}" srcOrd="0" destOrd="1" presId="urn:microsoft.com/office/officeart/2005/8/layout/list1"/>
    <dgm:cxn modelId="{5865CCA6-4B81-426A-86DC-CE7BCB434427}" type="presOf" srcId="{5D8524CD-D2AF-4CCE-B183-F41FA9AB0046}" destId="{6BDCAA89-02E5-496D-A89A-5223E3A26367}" srcOrd="0" destOrd="1" presId="urn:microsoft.com/office/officeart/2005/8/layout/list1"/>
    <dgm:cxn modelId="{552C84A7-22B4-4994-BB8C-D0B2F0E0E1F7}" srcId="{951F36F3-8791-4F0C-A47A-3B6BEC46FBE8}" destId="{724484DA-5DC4-464B-8197-0E6204F8FE83}" srcOrd="1" destOrd="0" parTransId="{57458DBB-0C0C-4492-927B-F8692E4ABB72}" sibTransId="{EFCA2416-8EB8-4ECE-B093-0B475499694B}"/>
    <dgm:cxn modelId="{B75DF2B1-87CB-46D4-AA30-99FB1DF937F6}" type="presOf" srcId="{951F36F3-8791-4F0C-A47A-3B6BEC46FBE8}" destId="{68DD7CD2-1364-430F-B51B-77C305F236DD}" srcOrd="1" destOrd="0" presId="urn:microsoft.com/office/officeart/2005/8/layout/list1"/>
    <dgm:cxn modelId="{8F3E8FB9-C39D-4F77-965A-2A8C07014F16}" type="presOf" srcId="{25DDAB18-D3E4-4EDA-BEE9-54FEA1CEE32A}" destId="{0658CD70-E066-416B-8D60-7A9B64CC7700}" srcOrd="0" destOrd="0" presId="urn:microsoft.com/office/officeart/2005/8/layout/list1"/>
    <dgm:cxn modelId="{0DB9B1D3-4ED9-4114-909D-6906A8C7E072}" srcId="{25DDAB18-D3E4-4EDA-BEE9-54FEA1CEE32A}" destId="{5D8524CD-D2AF-4CCE-B183-F41FA9AB0046}" srcOrd="1" destOrd="0" parTransId="{5ED531B9-38BB-44CD-AD0B-F116C3B41AA0}" sibTransId="{4B2DE214-3383-4823-9727-FF7A0FCA5765}"/>
    <dgm:cxn modelId="{DAA326DF-7C11-459D-BF6A-2FD6345B56F2}" srcId="{951F36F3-8791-4F0C-A47A-3B6BEC46FBE8}" destId="{398531F1-EC84-4E7C-8A30-6D8E8E9DBE4F}" srcOrd="0" destOrd="0" parTransId="{B8B6BF72-BC76-42AF-B8C3-7899A019C798}" sibTransId="{FA2DA146-52C6-437F-A461-46EAB7F51394}"/>
    <dgm:cxn modelId="{D16B56E6-8562-4832-ADB5-069850FADB32}" type="presParOf" srcId="{9144B178-9EFF-4F10-BF01-73B7081DB5F7}" destId="{DACADDC3-0F42-4E64-8C19-4A6C77B33B20}" srcOrd="0" destOrd="0" presId="urn:microsoft.com/office/officeart/2005/8/layout/list1"/>
    <dgm:cxn modelId="{B7B2B198-9EBA-4D5E-8E00-E553A9C76327}" type="presParOf" srcId="{DACADDC3-0F42-4E64-8C19-4A6C77B33B20}" destId="{72D81CEA-DF82-4F70-B269-F12BE66194F0}" srcOrd="0" destOrd="0" presId="urn:microsoft.com/office/officeart/2005/8/layout/list1"/>
    <dgm:cxn modelId="{88E79470-534B-4929-B405-50BE6FE17120}" type="presParOf" srcId="{DACADDC3-0F42-4E64-8C19-4A6C77B33B20}" destId="{68DD7CD2-1364-430F-B51B-77C305F236DD}" srcOrd="1" destOrd="0" presId="urn:microsoft.com/office/officeart/2005/8/layout/list1"/>
    <dgm:cxn modelId="{B9DAFDE4-D3F9-4E17-B745-E140EC88E5C9}" type="presParOf" srcId="{9144B178-9EFF-4F10-BF01-73B7081DB5F7}" destId="{C6FDD7D8-FD52-40B5-A1E1-5C52EAD3E4EE}" srcOrd="1" destOrd="0" presId="urn:microsoft.com/office/officeart/2005/8/layout/list1"/>
    <dgm:cxn modelId="{D0F17113-1D49-4EB9-8CFB-A6EAD3A8A60C}" type="presParOf" srcId="{9144B178-9EFF-4F10-BF01-73B7081DB5F7}" destId="{BDD113F8-9ED2-4C8B-A5D9-270957FF8CC0}" srcOrd="2" destOrd="0" presId="urn:microsoft.com/office/officeart/2005/8/layout/list1"/>
    <dgm:cxn modelId="{DDD9C7AE-859E-45B3-9FB5-35CC5F0E6DB5}" type="presParOf" srcId="{9144B178-9EFF-4F10-BF01-73B7081DB5F7}" destId="{FC9A0AAF-53B3-40F0-9315-26CCEFE11510}" srcOrd="3" destOrd="0" presId="urn:microsoft.com/office/officeart/2005/8/layout/list1"/>
    <dgm:cxn modelId="{0EC0461B-7205-40FD-9099-915D651F5ECA}" type="presParOf" srcId="{9144B178-9EFF-4F10-BF01-73B7081DB5F7}" destId="{32FB5963-84B6-4853-8943-D74F12FD392F}" srcOrd="4" destOrd="0" presId="urn:microsoft.com/office/officeart/2005/8/layout/list1"/>
    <dgm:cxn modelId="{404C4F33-ECC9-4EA4-82BA-177732BE792C}" type="presParOf" srcId="{32FB5963-84B6-4853-8943-D74F12FD392F}" destId="{0658CD70-E066-416B-8D60-7A9B64CC7700}" srcOrd="0" destOrd="0" presId="urn:microsoft.com/office/officeart/2005/8/layout/list1"/>
    <dgm:cxn modelId="{BD21BB84-5777-4AE0-B88F-F88CCB05AD0C}" type="presParOf" srcId="{32FB5963-84B6-4853-8943-D74F12FD392F}" destId="{45E177D8-5216-4C25-A576-62CD0CD58BA8}" srcOrd="1" destOrd="0" presId="urn:microsoft.com/office/officeart/2005/8/layout/list1"/>
    <dgm:cxn modelId="{AD7F8C81-CC50-43AA-A13E-A58B7CE1F84A}" type="presParOf" srcId="{9144B178-9EFF-4F10-BF01-73B7081DB5F7}" destId="{B4B8E7C9-0F20-4212-B891-C0C5B969F6E1}" srcOrd="5" destOrd="0" presId="urn:microsoft.com/office/officeart/2005/8/layout/list1"/>
    <dgm:cxn modelId="{9D9DB64F-A7CD-4295-87D6-D394D86802DE}" type="presParOf" srcId="{9144B178-9EFF-4F10-BF01-73B7081DB5F7}" destId="{6BDCAA89-02E5-496D-A89A-5223E3A26367}"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86EB11C7-8E35-496E-8BBA-B5FE5C2DA876}" type="doc">
      <dgm:prSet loTypeId="urn:microsoft.com/office/officeart/2005/8/layout/vList5" loCatId="list" qsTypeId="urn:microsoft.com/office/officeart/2005/8/quickstyle/simple4" qsCatId="simple" csTypeId="urn:microsoft.com/office/officeart/2005/8/colors/colorful2" csCatId="colorful"/>
      <dgm:spPr/>
      <dgm:t>
        <a:bodyPr/>
        <a:lstStyle/>
        <a:p>
          <a:endParaRPr lang="en-US"/>
        </a:p>
      </dgm:t>
    </dgm:pt>
    <dgm:pt modelId="{06B0F420-A2DD-4C38-8943-E47A75976368}">
      <dgm:prSet custT="1"/>
      <dgm:spPr/>
      <dgm:t>
        <a:bodyPr/>
        <a:lstStyle/>
        <a:p>
          <a:r>
            <a:rPr lang="en-US" sz="2400" baseline="0" dirty="0"/>
            <a:t>ALTER ANY COLUMN MASTER KEY</a:t>
          </a:r>
          <a:endParaRPr lang="en-US" sz="2400" dirty="0"/>
        </a:p>
      </dgm:t>
    </dgm:pt>
    <dgm:pt modelId="{DDA18201-CAF4-4AF1-9209-D0B1EDB8C3BE}" type="parTrans" cxnId="{3FA7F744-0946-4746-A94D-B3B0F3AB4289}">
      <dgm:prSet/>
      <dgm:spPr/>
      <dgm:t>
        <a:bodyPr/>
        <a:lstStyle/>
        <a:p>
          <a:endParaRPr lang="en-US"/>
        </a:p>
      </dgm:t>
    </dgm:pt>
    <dgm:pt modelId="{48F85F08-174A-488C-AB7D-4915668FD800}" type="sibTrans" cxnId="{3FA7F744-0946-4746-A94D-B3B0F3AB4289}">
      <dgm:prSet/>
      <dgm:spPr/>
      <dgm:t>
        <a:bodyPr/>
        <a:lstStyle/>
        <a:p>
          <a:endParaRPr lang="en-US"/>
        </a:p>
      </dgm:t>
    </dgm:pt>
    <dgm:pt modelId="{AF473787-FF6F-4F72-9839-43660A59A09C}">
      <dgm:prSet/>
      <dgm:spPr/>
      <dgm:t>
        <a:bodyPr/>
        <a:lstStyle/>
        <a:p>
          <a:r>
            <a:rPr lang="en-US" baseline="0" dirty="0"/>
            <a:t>Required to create and delete a column master key</a:t>
          </a:r>
          <a:endParaRPr lang="en-US" dirty="0"/>
        </a:p>
      </dgm:t>
    </dgm:pt>
    <dgm:pt modelId="{6A5233CC-1BD0-4433-ADA5-5D775FD7C1E7}" type="parTrans" cxnId="{ECD4A899-397F-4711-8C58-57CEE1B39D61}">
      <dgm:prSet/>
      <dgm:spPr/>
      <dgm:t>
        <a:bodyPr/>
        <a:lstStyle/>
        <a:p>
          <a:endParaRPr lang="en-US"/>
        </a:p>
      </dgm:t>
    </dgm:pt>
    <dgm:pt modelId="{8F6108B0-452C-45D8-AF31-B83407C3FF89}" type="sibTrans" cxnId="{ECD4A899-397F-4711-8C58-57CEE1B39D61}">
      <dgm:prSet/>
      <dgm:spPr/>
      <dgm:t>
        <a:bodyPr/>
        <a:lstStyle/>
        <a:p>
          <a:endParaRPr lang="en-US"/>
        </a:p>
      </dgm:t>
    </dgm:pt>
    <dgm:pt modelId="{50502154-A5E1-4DBD-A991-9B8EA29740EA}">
      <dgm:prSet custT="1"/>
      <dgm:spPr/>
      <dgm:t>
        <a:bodyPr/>
        <a:lstStyle/>
        <a:p>
          <a:r>
            <a:rPr lang="en-US" sz="2400" baseline="0" dirty="0"/>
            <a:t>ALTER ANY COLUMN ENCRYPTION KEY</a:t>
          </a:r>
          <a:endParaRPr lang="en-US" sz="2400" dirty="0"/>
        </a:p>
      </dgm:t>
    </dgm:pt>
    <dgm:pt modelId="{869A65B5-9EC9-4232-B274-B3DF858FE7BD}" type="parTrans" cxnId="{E3F0A5DE-C131-48B3-A84A-720C8EB6BBF7}">
      <dgm:prSet/>
      <dgm:spPr/>
      <dgm:t>
        <a:bodyPr/>
        <a:lstStyle/>
        <a:p>
          <a:endParaRPr lang="en-US"/>
        </a:p>
      </dgm:t>
    </dgm:pt>
    <dgm:pt modelId="{8AA27E4D-6553-4855-A684-8AD02A6EDA60}" type="sibTrans" cxnId="{E3F0A5DE-C131-48B3-A84A-720C8EB6BBF7}">
      <dgm:prSet/>
      <dgm:spPr/>
      <dgm:t>
        <a:bodyPr/>
        <a:lstStyle/>
        <a:p>
          <a:endParaRPr lang="en-US"/>
        </a:p>
      </dgm:t>
    </dgm:pt>
    <dgm:pt modelId="{91CBAA29-C4D5-4131-9AD6-BB81C64C94C2}">
      <dgm:prSet/>
      <dgm:spPr/>
      <dgm:t>
        <a:bodyPr/>
        <a:lstStyle/>
        <a:p>
          <a:r>
            <a:rPr lang="en-US" baseline="0" dirty="0"/>
            <a:t>Required to create and delete a column encryption key</a:t>
          </a:r>
          <a:endParaRPr lang="en-US" dirty="0"/>
        </a:p>
      </dgm:t>
    </dgm:pt>
    <dgm:pt modelId="{CEB0771A-2ABC-49BC-BC10-202DF6E3ABEE}" type="parTrans" cxnId="{49A2F91E-18E9-4FE7-88C4-747FE56484B5}">
      <dgm:prSet/>
      <dgm:spPr/>
      <dgm:t>
        <a:bodyPr/>
        <a:lstStyle/>
        <a:p>
          <a:endParaRPr lang="en-US"/>
        </a:p>
      </dgm:t>
    </dgm:pt>
    <dgm:pt modelId="{1FA1ECB1-B593-42A6-9779-29DA75C5715A}" type="sibTrans" cxnId="{49A2F91E-18E9-4FE7-88C4-747FE56484B5}">
      <dgm:prSet/>
      <dgm:spPr/>
      <dgm:t>
        <a:bodyPr/>
        <a:lstStyle/>
        <a:p>
          <a:endParaRPr lang="en-US"/>
        </a:p>
      </dgm:t>
    </dgm:pt>
    <dgm:pt modelId="{0351816B-4445-4ED6-8358-58C4F9D56369}">
      <dgm:prSet custT="1"/>
      <dgm:spPr/>
      <dgm:t>
        <a:bodyPr/>
        <a:lstStyle/>
        <a:p>
          <a:r>
            <a:rPr lang="en-US" sz="2400" baseline="0"/>
            <a:t>VIEW ANY COLUMN MASTER KEY DEFINITION</a:t>
          </a:r>
          <a:endParaRPr lang="en-US" sz="2400"/>
        </a:p>
      </dgm:t>
    </dgm:pt>
    <dgm:pt modelId="{49920631-A023-4464-AE81-1EA2AB79969B}" type="parTrans" cxnId="{76AB99AB-AEC3-48EC-877C-0CBAEB8414E2}">
      <dgm:prSet/>
      <dgm:spPr/>
      <dgm:t>
        <a:bodyPr/>
        <a:lstStyle/>
        <a:p>
          <a:endParaRPr lang="en-US"/>
        </a:p>
      </dgm:t>
    </dgm:pt>
    <dgm:pt modelId="{3984B997-BC1B-4656-AAF5-5FFFDA037FA4}" type="sibTrans" cxnId="{76AB99AB-AEC3-48EC-877C-0CBAEB8414E2}">
      <dgm:prSet/>
      <dgm:spPr/>
      <dgm:t>
        <a:bodyPr/>
        <a:lstStyle/>
        <a:p>
          <a:endParaRPr lang="en-US"/>
        </a:p>
      </dgm:t>
    </dgm:pt>
    <dgm:pt modelId="{0103D768-D49E-4B64-B846-00CA7A27A949}">
      <dgm:prSet/>
      <dgm:spPr/>
      <dgm:t>
        <a:bodyPr/>
        <a:lstStyle/>
        <a:p>
          <a:r>
            <a:rPr lang="en-US" baseline="0"/>
            <a:t>Required to access and read column master key metadata objects while managing keys or querying encrypting columns</a:t>
          </a:r>
          <a:endParaRPr lang="en-US"/>
        </a:p>
      </dgm:t>
    </dgm:pt>
    <dgm:pt modelId="{7EB847A3-F0FA-49AE-98BE-8FBC80350AD6}" type="parTrans" cxnId="{9A5AC18F-AB3C-464A-9326-F0D095EE92E2}">
      <dgm:prSet/>
      <dgm:spPr/>
      <dgm:t>
        <a:bodyPr/>
        <a:lstStyle/>
        <a:p>
          <a:endParaRPr lang="en-US"/>
        </a:p>
      </dgm:t>
    </dgm:pt>
    <dgm:pt modelId="{B90E7C27-38CA-42AF-B0FD-2CF3364ED9B7}" type="sibTrans" cxnId="{9A5AC18F-AB3C-464A-9326-F0D095EE92E2}">
      <dgm:prSet/>
      <dgm:spPr/>
      <dgm:t>
        <a:bodyPr/>
        <a:lstStyle/>
        <a:p>
          <a:endParaRPr lang="en-US"/>
        </a:p>
      </dgm:t>
    </dgm:pt>
    <dgm:pt modelId="{9D1D5EB5-3C59-4A51-B899-2CB17227D2BD}">
      <dgm:prSet custT="1"/>
      <dgm:spPr/>
      <dgm:t>
        <a:bodyPr/>
        <a:lstStyle/>
        <a:p>
          <a:r>
            <a:rPr lang="en-US" sz="2400" baseline="0"/>
            <a:t>VIEW ANY COLUMN ENCRYTPION KEY DEFINITION</a:t>
          </a:r>
          <a:endParaRPr lang="en-US" sz="2400"/>
        </a:p>
      </dgm:t>
    </dgm:pt>
    <dgm:pt modelId="{F6896073-93BB-4389-9132-767514B9DC6D}" type="parTrans" cxnId="{0D0758D1-FED9-46B6-A320-E14A5A1D9FE7}">
      <dgm:prSet/>
      <dgm:spPr/>
      <dgm:t>
        <a:bodyPr/>
        <a:lstStyle/>
        <a:p>
          <a:endParaRPr lang="en-US"/>
        </a:p>
      </dgm:t>
    </dgm:pt>
    <dgm:pt modelId="{D6239BC5-D444-40FD-92C0-1A870093B22C}" type="sibTrans" cxnId="{0D0758D1-FED9-46B6-A320-E14A5A1D9FE7}">
      <dgm:prSet/>
      <dgm:spPr/>
      <dgm:t>
        <a:bodyPr/>
        <a:lstStyle/>
        <a:p>
          <a:endParaRPr lang="en-US"/>
        </a:p>
      </dgm:t>
    </dgm:pt>
    <dgm:pt modelId="{15165700-27F3-4178-B7C0-4A3E3C621784}">
      <dgm:prSet/>
      <dgm:spPr/>
      <dgm:t>
        <a:bodyPr/>
        <a:lstStyle/>
        <a:p>
          <a:r>
            <a:rPr lang="en-US" baseline="0"/>
            <a:t>Required to access and read column encryption key metadata objects while managing keys or querying encrypting columns </a:t>
          </a:r>
          <a:endParaRPr lang="en-US"/>
        </a:p>
      </dgm:t>
    </dgm:pt>
    <dgm:pt modelId="{28C6CD9F-A58D-4E1C-97C0-9D055167221D}" type="parTrans" cxnId="{E707E2DD-F884-4C32-A329-A52958BFBAF6}">
      <dgm:prSet/>
      <dgm:spPr/>
      <dgm:t>
        <a:bodyPr/>
        <a:lstStyle/>
        <a:p>
          <a:endParaRPr lang="en-US"/>
        </a:p>
      </dgm:t>
    </dgm:pt>
    <dgm:pt modelId="{EA021A21-C112-457D-A15F-0C21FAC11FCD}" type="sibTrans" cxnId="{E707E2DD-F884-4C32-A329-A52958BFBAF6}">
      <dgm:prSet/>
      <dgm:spPr/>
      <dgm:t>
        <a:bodyPr/>
        <a:lstStyle/>
        <a:p>
          <a:endParaRPr lang="en-US"/>
        </a:p>
      </dgm:t>
    </dgm:pt>
    <dgm:pt modelId="{4CBF3F3F-EE28-415D-BAF1-5F14DBFE9E16}" type="pres">
      <dgm:prSet presAssocID="{86EB11C7-8E35-496E-8BBA-B5FE5C2DA876}" presName="Name0" presStyleCnt="0">
        <dgm:presLayoutVars>
          <dgm:dir/>
          <dgm:animLvl val="lvl"/>
          <dgm:resizeHandles val="exact"/>
        </dgm:presLayoutVars>
      </dgm:prSet>
      <dgm:spPr/>
    </dgm:pt>
    <dgm:pt modelId="{5B43FF09-DF7A-446F-8C12-E060E16178C2}" type="pres">
      <dgm:prSet presAssocID="{06B0F420-A2DD-4C38-8943-E47A75976368}" presName="linNode" presStyleCnt="0"/>
      <dgm:spPr/>
    </dgm:pt>
    <dgm:pt modelId="{9FE36F5D-7248-4DA4-9FFD-76DB9C742BE5}" type="pres">
      <dgm:prSet presAssocID="{06B0F420-A2DD-4C38-8943-E47A75976368}" presName="parentText" presStyleLbl="node1" presStyleIdx="0" presStyleCnt="4">
        <dgm:presLayoutVars>
          <dgm:chMax val="1"/>
          <dgm:bulletEnabled val="1"/>
        </dgm:presLayoutVars>
      </dgm:prSet>
      <dgm:spPr/>
    </dgm:pt>
    <dgm:pt modelId="{E6BDFBD0-E69C-4C6D-B846-3035E9FF7151}" type="pres">
      <dgm:prSet presAssocID="{06B0F420-A2DD-4C38-8943-E47A75976368}" presName="descendantText" presStyleLbl="alignAccFollowNode1" presStyleIdx="0" presStyleCnt="4">
        <dgm:presLayoutVars>
          <dgm:bulletEnabled val="1"/>
        </dgm:presLayoutVars>
      </dgm:prSet>
      <dgm:spPr/>
    </dgm:pt>
    <dgm:pt modelId="{B0531734-C357-4E4E-8EE8-2E67400DF782}" type="pres">
      <dgm:prSet presAssocID="{48F85F08-174A-488C-AB7D-4915668FD800}" presName="sp" presStyleCnt="0"/>
      <dgm:spPr/>
    </dgm:pt>
    <dgm:pt modelId="{118A3CDC-C9B7-4635-AFA1-ECC47C9E122A}" type="pres">
      <dgm:prSet presAssocID="{50502154-A5E1-4DBD-A991-9B8EA29740EA}" presName="linNode" presStyleCnt="0"/>
      <dgm:spPr/>
    </dgm:pt>
    <dgm:pt modelId="{B7EBF281-5392-4475-844D-71D64DC3D19F}" type="pres">
      <dgm:prSet presAssocID="{50502154-A5E1-4DBD-A991-9B8EA29740EA}" presName="parentText" presStyleLbl="node1" presStyleIdx="1" presStyleCnt="4">
        <dgm:presLayoutVars>
          <dgm:chMax val="1"/>
          <dgm:bulletEnabled val="1"/>
        </dgm:presLayoutVars>
      </dgm:prSet>
      <dgm:spPr/>
    </dgm:pt>
    <dgm:pt modelId="{FC6462EE-C45D-4824-B63D-EA04FC820552}" type="pres">
      <dgm:prSet presAssocID="{50502154-A5E1-4DBD-A991-9B8EA29740EA}" presName="descendantText" presStyleLbl="alignAccFollowNode1" presStyleIdx="1" presStyleCnt="4">
        <dgm:presLayoutVars>
          <dgm:bulletEnabled val="1"/>
        </dgm:presLayoutVars>
      </dgm:prSet>
      <dgm:spPr/>
    </dgm:pt>
    <dgm:pt modelId="{B3D25547-367C-44D8-A835-2D3DA3E0FAF7}" type="pres">
      <dgm:prSet presAssocID="{8AA27E4D-6553-4855-A684-8AD02A6EDA60}" presName="sp" presStyleCnt="0"/>
      <dgm:spPr/>
    </dgm:pt>
    <dgm:pt modelId="{0F2B1859-E0DC-48C7-ADF1-B7DD0371F2C1}" type="pres">
      <dgm:prSet presAssocID="{0351816B-4445-4ED6-8358-58C4F9D56369}" presName="linNode" presStyleCnt="0"/>
      <dgm:spPr/>
    </dgm:pt>
    <dgm:pt modelId="{2D6EA379-A3E5-4313-89E0-DC29113E82EA}" type="pres">
      <dgm:prSet presAssocID="{0351816B-4445-4ED6-8358-58C4F9D56369}" presName="parentText" presStyleLbl="node1" presStyleIdx="2" presStyleCnt="4">
        <dgm:presLayoutVars>
          <dgm:chMax val="1"/>
          <dgm:bulletEnabled val="1"/>
        </dgm:presLayoutVars>
      </dgm:prSet>
      <dgm:spPr/>
    </dgm:pt>
    <dgm:pt modelId="{09D0FD38-A65F-49C4-BD83-F19917332BCD}" type="pres">
      <dgm:prSet presAssocID="{0351816B-4445-4ED6-8358-58C4F9D56369}" presName="descendantText" presStyleLbl="alignAccFollowNode1" presStyleIdx="2" presStyleCnt="4">
        <dgm:presLayoutVars>
          <dgm:bulletEnabled val="1"/>
        </dgm:presLayoutVars>
      </dgm:prSet>
      <dgm:spPr/>
    </dgm:pt>
    <dgm:pt modelId="{6F340F1A-1268-4321-9A26-41B63F97F42A}" type="pres">
      <dgm:prSet presAssocID="{3984B997-BC1B-4656-AAF5-5FFFDA037FA4}" presName="sp" presStyleCnt="0"/>
      <dgm:spPr/>
    </dgm:pt>
    <dgm:pt modelId="{8E2DED69-020D-4FBF-9071-63BBB4997B3C}" type="pres">
      <dgm:prSet presAssocID="{9D1D5EB5-3C59-4A51-B899-2CB17227D2BD}" presName="linNode" presStyleCnt="0"/>
      <dgm:spPr/>
    </dgm:pt>
    <dgm:pt modelId="{405ADB7C-6A42-4FDD-889B-5EE7722889B3}" type="pres">
      <dgm:prSet presAssocID="{9D1D5EB5-3C59-4A51-B899-2CB17227D2BD}" presName="parentText" presStyleLbl="node1" presStyleIdx="3" presStyleCnt="4">
        <dgm:presLayoutVars>
          <dgm:chMax val="1"/>
          <dgm:bulletEnabled val="1"/>
        </dgm:presLayoutVars>
      </dgm:prSet>
      <dgm:spPr/>
    </dgm:pt>
    <dgm:pt modelId="{0DFD7F48-434F-41F7-A8E8-F3DDEE4730E9}" type="pres">
      <dgm:prSet presAssocID="{9D1D5EB5-3C59-4A51-B899-2CB17227D2BD}" presName="descendantText" presStyleLbl="alignAccFollowNode1" presStyleIdx="3" presStyleCnt="4">
        <dgm:presLayoutVars>
          <dgm:bulletEnabled val="1"/>
        </dgm:presLayoutVars>
      </dgm:prSet>
      <dgm:spPr/>
    </dgm:pt>
  </dgm:ptLst>
  <dgm:cxnLst>
    <dgm:cxn modelId="{49A2F91E-18E9-4FE7-88C4-747FE56484B5}" srcId="{50502154-A5E1-4DBD-A991-9B8EA29740EA}" destId="{91CBAA29-C4D5-4131-9AD6-BB81C64C94C2}" srcOrd="0" destOrd="0" parTransId="{CEB0771A-2ABC-49BC-BC10-202DF6E3ABEE}" sibTransId="{1FA1ECB1-B593-42A6-9779-29DA75C5715A}"/>
    <dgm:cxn modelId="{0DB05E26-EBBE-4F99-8D7F-6B748676427A}" type="presOf" srcId="{0103D768-D49E-4B64-B846-00CA7A27A949}" destId="{09D0FD38-A65F-49C4-BD83-F19917332BCD}" srcOrd="0" destOrd="0" presId="urn:microsoft.com/office/officeart/2005/8/layout/vList5"/>
    <dgm:cxn modelId="{3FA7F744-0946-4746-A94D-B3B0F3AB4289}" srcId="{86EB11C7-8E35-496E-8BBA-B5FE5C2DA876}" destId="{06B0F420-A2DD-4C38-8943-E47A75976368}" srcOrd="0" destOrd="0" parTransId="{DDA18201-CAF4-4AF1-9209-D0B1EDB8C3BE}" sibTransId="{48F85F08-174A-488C-AB7D-4915668FD800}"/>
    <dgm:cxn modelId="{BA5DD065-9F8A-4FCA-A4A1-86D8720D733A}" type="presOf" srcId="{0351816B-4445-4ED6-8358-58C4F9D56369}" destId="{2D6EA379-A3E5-4313-89E0-DC29113E82EA}" srcOrd="0" destOrd="0" presId="urn:microsoft.com/office/officeart/2005/8/layout/vList5"/>
    <dgm:cxn modelId="{5BA2A64C-BA47-486B-B46D-CCBD25B25A34}" type="presOf" srcId="{9D1D5EB5-3C59-4A51-B899-2CB17227D2BD}" destId="{405ADB7C-6A42-4FDD-889B-5EE7722889B3}" srcOrd="0" destOrd="0" presId="urn:microsoft.com/office/officeart/2005/8/layout/vList5"/>
    <dgm:cxn modelId="{2C448852-7615-4E75-8CF0-537B6C6CF88A}" type="presOf" srcId="{86EB11C7-8E35-496E-8BBA-B5FE5C2DA876}" destId="{4CBF3F3F-EE28-415D-BAF1-5F14DBFE9E16}" srcOrd="0" destOrd="0" presId="urn:microsoft.com/office/officeart/2005/8/layout/vList5"/>
    <dgm:cxn modelId="{575AAE73-D035-4191-BDFA-E97D1B4B48F0}" type="presOf" srcId="{91CBAA29-C4D5-4131-9AD6-BB81C64C94C2}" destId="{FC6462EE-C45D-4824-B63D-EA04FC820552}" srcOrd="0" destOrd="0" presId="urn:microsoft.com/office/officeart/2005/8/layout/vList5"/>
    <dgm:cxn modelId="{176DBE89-0C35-4737-B034-2BDC3C88BBAD}" type="presOf" srcId="{50502154-A5E1-4DBD-A991-9B8EA29740EA}" destId="{B7EBF281-5392-4475-844D-71D64DC3D19F}" srcOrd="0" destOrd="0" presId="urn:microsoft.com/office/officeart/2005/8/layout/vList5"/>
    <dgm:cxn modelId="{44542C8B-0B1D-4935-864B-5BCCB4369561}" type="presOf" srcId="{06B0F420-A2DD-4C38-8943-E47A75976368}" destId="{9FE36F5D-7248-4DA4-9FFD-76DB9C742BE5}" srcOrd="0" destOrd="0" presId="urn:microsoft.com/office/officeart/2005/8/layout/vList5"/>
    <dgm:cxn modelId="{9A5AC18F-AB3C-464A-9326-F0D095EE92E2}" srcId="{0351816B-4445-4ED6-8358-58C4F9D56369}" destId="{0103D768-D49E-4B64-B846-00CA7A27A949}" srcOrd="0" destOrd="0" parTransId="{7EB847A3-F0FA-49AE-98BE-8FBC80350AD6}" sibTransId="{B90E7C27-38CA-42AF-B0FD-2CF3364ED9B7}"/>
    <dgm:cxn modelId="{ECD4A899-397F-4711-8C58-57CEE1B39D61}" srcId="{06B0F420-A2DD-4C38-8943-E47A75976368}" destId="{AF473787-FF6F-4F72-9839-43660A59A09C}" srcOrd="0" destOrd="0" parTransId="{6A5233CC-1BD0-4433-ADA5-5D775FD7C1E7}" sibTransId="{8F6108B0-452C-45D8-AF31-B83407C3FF89}"/>
    <dgm:cxn modelId="{76AB99AB-AEC3-48EC-877C-0CBAEB8414E2}" srcId="{86EB11C7-8E35-496E-8BBA-B5FE5C2DA876}" destId="{0351816B-4445-4ED6-8358-58C4F9D56369}" srcOrd="2" destOrd="0" parTransId="{49920631-A023-4464-AE81-1EA2AB79969B}" sibTransId="{3984B997-BC1B-4656-AAF5-5FFFDA037FA4}"/>
    <dgm:cxn modelId="{0D0758D1-FED9-46B6-A320-E14A5A1D9FE7}" srcId="{86EB11C7-8E35-496E-8BBA-B5FE5C2DA876}" destId="{9D1D5EB5-3C59-4A51-B899-2CB17227D2BD}" srcOrd="3" destOrd="0" parTransId="{F6896073-93BB-4389-9132-767514B9DC6D}" sibTransId="{D6239BC5-D444-40FD-92C0-1A870093B22C}"/>
    <dgm:cxn modelId="{E707E2DD-F884-4C32-A329-A52958BFBAF6}" srcId="{9D1D5EB5-3C59-4A51-B899-2CB17227D2BD}" destId="{15165700-27F3-4178-B7C0-4A3E3C621784}" srcOrd="0" destOrd="0" parTransId="{28C6CD9F-A58D-4E1C-97C0-9D055167221D}" sibTransId="{EA021A21-C112-457D-A15F-0C21FAC11FCD}"/>
    <dgm:cxn modelId="{E3F0A5DE-C131-48B3-A84A-720C8EB6BBF7}" srcId="{86EB11C7-8E35-496E-8BBA-B5FE5C2DA876}" destId="{50502154-A5E1-4DBD-A991-9B8EA29740EA}" srcOrd="1" destOrd="0" parTransId="{869A65B5-9EC9-4232-B274-B3DF858FE7BD}" sibTransId="{8AA27E4D-6553-4855-A684-8AD02A6EDA60}"/>
    <dgm:cxn modelId="{3F33B2E4-EC9A-4E23-BF39-115672A78FD5}" type="presOf" srcId="{15165700-27F3-4178-B7C0-4A3E3C621784}" destId="{0DFD7F48-434F-41F7-A8E8-F3DDEE4730E9}" srcOrd="0" destOrd="0" presId="urn:microsoft.com/office/officeart/2005/8/layout/vList5"/>
    <dgm:cxn modelId="{D654B2E9-4E59-41F1-9BE8-50AB051FB360}" type="presOf" srcId="{AF473787-FF6F-4F72-9839-43660A59A09C}" destId="{E6BDFBD0-E69C-4C6D-B846-3035E9FF7151}" srcOrd="0" destOrd="0" presId="urn:microsoft.com/office/officeart/2005/8/layout/vList5"/>
    <dgm:cxn modelId="{69088DB0-CEC5-478B-BD2F-0239725F4DF5}" type="presParOf" srcId="{4CBF3F3F-EE28-415D-BAF1-5F14DBFE9E16}" destId="{5B43FF09-DF7A-446F-8C12-E060E16178C2}" srcOrd="0" destOrd="0" presId="urn:microsoft.com/office/officeart/2005/8/layout/vList5"/>
    <dgm:cxn modelId="{F656257D-CEF2-4010-808E-5E571BBAC277}" type="presParOf" srcId="{5B43FF09-DF7A-446F-8C12-E060E16178C2}" destId="{9FE36F5D-7248-4DA4-9FFD-76DB9C742BE5}" srcOrd="0" destOrd="0" presId="urn:microsoft.com/office/officeart/2005/8/layout/vList5"/>
    <dgm:cxn modelId="{315F8F52-88EA-478C-A316-2ECF07760028}" type="presParOf" srcId="{5B43FF09-DF7A-446F-8C12-E060E16178C2}" destId="{E6BDFBD0-E69C-4C6D-B846-3035E9FF7151}" srcOrd="1" destOrd="0" presId="urn:microsoft.com/office/officeart/2005/8/layout/vList5"/>
    <dgm:cxn modelId="{B84DD331-E85C-4B65-AABD-6FA480975302}" type="presParOf" srcId="{4CBF3F3F-EE28-415D-BAF1-5F14DBFE9E16}" destId="{B0531734-C357-4E4E-8EE8-2E67400DF782}" srcOrd="1" destOrd="0" presId="urn:microsoft.com/office/officeart/2005/8/layout/vList5"/>
    <dgm:cxn modelId="{A3F934E1-9CDB-441B-9B6C-64DDCC763F7A}" type="presParOf" srcId="{4CBF3F3F-EE28-415D-BAF1-5F14DBFE9E16}" destId="{118A3CDC-C9B7-4635-AFA1-ECC47C9E122A}" srcOrd="2" destOrd="0" presId="urn:microsoft.com/office/officeart/2005/8/layout/vList5"/>
    <dgm:cxn modelId="{210A9333-598A-45D5-AB1A-BF0FE0C41CA4}" type="presParOf" srcId="{118A3CDC-C9B7-4635-AFA1-ECC47C9E122A}" destId="{B7EBF281-5392-4475-844D-71D64DC3D19F}" srcOrd="0" destOrd="0" presId="urn:microsoft.com/office/officeart/2005/8/layout/vList5"/>
    <dgm:cxn modelId="{1C938C6C-36B7-4AD0-A3CC-F02480C6323A}" type="presParOf" srcId="{118A3CDC-C9B7-4635-AFA1-ECC47C9E122A}" destId="{FC6462EE-C45D-4824-B63D-EA04FC820552}" srcOrd="1" destOrd="0" presId="urn:microsoft.com/office/officeart/2005/8/layout/vList5"/>
    <dgm:cxn modelId="{01F909E1-89E4-4079-90C8-043208CB0737}" type="presParOf" srcId="{4CBF3F3F-EE28-415D-BAF1-5F14DBFE9E16}" destId="{B3D25547-367C-44D8-A835-2D3DA3E0FAF7}" srcOrd="3" destOrd="0" presId="urn:microsoft.com/office/officeart/2005/8/layout/vList5"/>
    <dgm:cxn modelId="{FF5ED927-348D-4A27-A7B1-3C89F357B1BD}" type="presParOf" srcId="{4CBF3F3F-EE28-415D-BAF1-5F14DBFE9E16}" destId="{0F2B1859-E0DC-48C7-ADF1-B7DD0371F2C1}" srcOrd="4" destOrd="0" presId="urn:microsoft.com/office/officeart/2005/8/layout/vList5"/>
    <dgm:cxn modelId="{C15997AE-C144-4586-A81E-94A159C63431}" type="presParOf" srcId="{0F2B1859-E0DC-48C7-ADF1-B7DD0371F2C1}" destId="{2D6EA379-A3E5-4313-89E0-DC29113E82EA}" srcOrd="0" destOrd="0" presId="urn:microsoft.com/office/officeart/2005/8/layout/vList5"/>
    <dgm:cxn modelId="{3D3FF095-B84B-48B3-BFC0-60891AC2F6F4}" type="presParOf" srcId="{0F2B1859-E0DC-48C7-ADF1-B7DD0371F2C1}" destId="{09D0FD38-A65F-49C4-BD83-F19917332BCD}" srcOrd="1" destOrd="0" presId="urn:microsoft.com/office/officeart/2005/8/layout/vList5"/>
    <dgm:cxn modelId="{23317B93-75C4-4968-9440-CE52ED31D7F6}" type="presParOf" srcId="{4CBF3F3F-EE28-415D-BAF1-5F14DBFE9E16}" destId="{6F340F1A-1268-4321-9A26-41B63F97F42A}" srcOrd="5" destOrd="0" presId="urn:microsoft.com/office/officeart/2005/8/layout/vList5"/>
    <dgm:cxn modelId="{B30CFB4D-9B01-4A77-B73E-48D3DBF052A0}" type="presParOf" srcId="{4CBF3F3F-EE28-415D-BAF1-5F14DBFE9E16}" destId="{8E2DED69-020D-4FBF-9071-63BBB4997B3C}" srcOrd="6" destOrd="0" presId="urn:microsoft.com/office/officeart/2005/8/layout/vList5"/>
    <dgm:cxn modelId="{DED4840F-81E4-443D-9AFD-E526204D23A3}" type="presParOf" srcId="{8E2DED69-020D-4FBF-9071-63BBB4997B3C}" destId="{405ADB7C-6A42-4FDD-889B-5EE7722889B3}" srcOrd="0" destOrd="0" presId="urn:microsoft.com/office/officeart/2005/8/layout/vList5"/>
    <dgm:cxn modelId="{DD1895EC-BACF-4B53-8A15-85A824CB2444}" type="presParOf" srcId="{8E2DED69-020D-4FBF-9071-63BBB4997B3C}" destId="{0DFD7F48-434F-41F7-A8E8-F3DDEE4730E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0122EA2-A6D3-4865-A753-0061F3B71615}"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CB4F624B-3211-4D51-8193-CCD857790316}">
      <dgm:prSet/>
      <dgm:spPr/>
      <dgm:t>
        <a:bodyPr/>
        <a:lstStyle/>
        <a:p>
          <a:r>
            <a:rPr lang="en-US"/>
            <a:t>Introduced in SQL Server 2016</a:t>
          </a:r>
        </a:p>
      </dgm:t>
    </dgm:pt>
    <dgm:pt modelId="{4731D37D-EFE4-4BE7-B66A-84ADC3DC85DF}" type="parTrans" cxnId="{7F688DF8-3EF7-4AF7-B0BA-5019352E7E32}">
      <dgm:prSet/>
      <dgm:spPr/>
      <dgm:t>
        <a:bodyPr/>
        <a:lstStyle/>
        <a:p>
          <a:endParaRPr lang="en-US"/>
        </a:p>
      </dgm:t>
    </dgm:pt>
    <dgm:pt modelId="{8486F6FD-F5CC-49A7-A948-82651A588A3F}" type="sibTrans" cxnId="{7F688DF8-3EF7-4AF7-B0BA-5019352E7E32}">
      <dgm:prSet/>
      <dgm:spPr/>
      <dgm:t>
        <a:bodyPr/>
        <a:lstStyle/>
        <a:p>
          <a:endParaRPr lang="en-US"/>
        </a:p>
      </dgm:t>
    </dgm:pt>
    <dgm:pt modelId="{06149241-5AA9-4353-BFC3-C6320612D688}">
      <dgm:prSet/>
      <dgm:spPr/>
      <dgm:t>
        <a:bodyPr/>
        <a:lstStyle/>
        <a:p>
          <a:r>
            <a:rPr lang="en-US" dirty="0"/>
            <a:t>All Editions (Service Pack1)</a:t>
          </a:r>
        </a:p>
      </dgm:t>
    </dgm:pt>
    <dgm:pt modelId="{5931DC1C-7423-4002-ABCB-7C3809192548}" type="parTrans" cxnId="{05CE0188-4B22-4FE4-92C4-09FF00A7981E}">
      <dgm:prSet/>
      <dgm:spPr/>
      <dgm:t>
        <a:bodyPr/>
        <a:lstStyle/>
        <a:p>
          <a:endParaRPr lang="en-US"/>
        </a:p>
      </dgm:t>
    </dgm:pt>
    <dgm:pt modelId="{6E5362BE-80A3-445D-B6C9-8974C1F9E2BF}" type="sibTrans" cxnId="{05CE0188-4B22-4FE4-92C4-09FF00A7981E}">
      <dgm:prSet/>
      <dgm:spPr/>
      <dgm:t>
        <a:bodyPr/>
        <a:lstStyle/>
        <a:p>
          <a:endParaRPr lang="en-US"/>
        </a:p>
      </dgm:t>
    </dgm:pt>
    <dgm:pt modelId="{7FD940AC-8478-4950-BE3B-F56BEACCF3A9}">
      <dgm:prSet/>
      <dgm:spPr/>
      <dgm:t>
        <a:bodyPr/>
        <a:lstStyle/>
        <a:p>
          <a:r>
            <a:rPr lang="en-US" dirty="0"/>
            <a:t>Allows encrypting specific columns</a:t>
          </a:r>
        </a:p>
      </dgm:t>
    </dgm:pt>
    <dgm:pt modelId="{E712D382-4A3D-41CF-BB27-DEBD5B8FFA28}" type="parTrans" cxnId="{7F458E08-A594-43ED-8D13-2B31FB44D91B}">
      <dgm:prSet/>
      <dgm:spPr/>
      <dgm:t>
        <a:bodyPr/>
        <a:lstStyle/>
        <a:p>
          <a:endParaRPr lang="en-US"/>
        </a:p>
      </dgm:t>
    </dgm:pt>
    <dgm:pt modelId="{7A051449-40BC-4E62-AA20-26A1AB9DD4F2}" type="sibTrans" cxnId="{7F458E08-A594-43ED-8D13-2B31FB44D91B}">
      <dgm:prSet/>
      <dgm:spPr/>
      <dgm:t>
        <a:bodyPr/>
        <a:lstStyle/>
        <a:p>
          <a:endParaRPr lang="en-US"/>
        </a:p>
      </dgm:t>
    </dgm:pt>
    <dgm:pt modelId="{20EE3305-B4F3-4167-BC63-FD0F1183559A}">
      <dgm:prSet/>
      <dgm:spPr/>
      <dgm:t>
        <a:bodyPr/>
        <a:lstStyle/>
        <a:p>
          <a:r>
            <a:rPr lang="en-US"/>
            <a:t>Client-side encryption/decryption</a:t>
          </a:r>
        </a:p>
      </dgm:t>
    </dgm:pt>
    <dgm:pt modelId="{637249E4-1A0B-4539-A305-C8DD9F8BFD04}" type="parTrans" cxnId="{CA5BA6C7-8F0B-4359-AFCD-67C4C85D31CA}">
      <dgm:prSet/>
      <dgm:spPr/>
      <dgm:t>
        <a:bodyPr/>
        <a:lstStyle/>
        <a:p>
          <a:endParaRPr lang="en-US"/>
        </a:p>
      </dgm:t>
    </dgm:pt>
    <dgm:pt modelId="{365465F0-CD03-4446-B4B0-19EEE53CDFB1}" type="sibTrans" cxnId="{CA5BA6C7-8F0B-4359-AFCD-67C4C85D31CA}">
      <dgm:prSet/>
      <dgm:spPr/>
      <dgm:t>
        <a:bodyPr/>
        <a:lstStyle/>
        <a:p>
          <a:endParaRPr lang="en-US"/>
        </a:p>
      </dgm:t>
    </dgm:pt>
    <dgm:pt modelId="{DF72F77D-B218-4E24-AD48-28EAAFE27FC6}">
      <dgm:prSet/>
      <dgm:spPr/>
      <dgm:t>
        <a:bodyPr/>
        <a:lstStyle/>
        <a:p>
          <a:r>
            <a:rPr lang="en-US"/>
            <a:t>Based on certificate stored on client machines</a:t>
          </a:r>
        </a:p>
      </dgm:t>
    </dgm:pt>
    <dgm:pt modelId="{F7B220C4-E7FA-469F-A6E3-D028CFDCA380}" type="parTrans" cxnId="{5CE8943E-FBEA-4CE4-94EF-9C9BC598EC07}">
      <dgm:prSet/>
      <dgm:spPr/>
      <dgm:t>
        <a:bodyPr/>
        <a:lstStyle/>
        <a:p>
          <a:endParaRPr lang="en-US"/>
        </a:p>
      </dgm:t>
    </dgm:pt>
    <dgm:pt modelId="{12B9724D-0056-45A2-A281-65AFAF80FCF0}" type="sibTrans" cxnId="{5CE8943E-FBEA-4CE4-94EF-9C9BC598EC07}">
      <dgm:prSet/>
      <dgm:spPr/>
      <dgm:t>
        <a:bodyPr/>
        <a:lstStyle/>
        <a:p>
          <a:endParaRPr lang="en-US"/>
        </a:p>
      </dgm:t>
    </dgm:pt>
    <dgm:pt modelId="{38138982-36ED-4C14-A8B4-039E5583EB97}" type="pres">
      <dgm:prSet presAssocID="{B0122EA2-A6D3-4865-A753-0061F3B71615}" presName="linear" presStyleCnt="0">
        <dgm:presLayoutVars>
          <dgm:animLvl val="lvl"/>
          <dgm:resizeHandles val="exact"/>
        </dgm:presLayoutVars>
      </dgm:prSet>
      <dgm:spPr/>
    </dgm:pt>
    <dgm:pt modelId="{ABB02360-EDB7-4750-A6A3-4ABC9E90F3ED}" type="pres">
      <dgm:prSet presAssocID="{CB4F624B-3211-4D51-8193-CCD857790316}" presName="parentText" presStyleLbl="node1" presStyleIdx="0" presStyleCnt="4">
        <dgm:presLayoutVars>
          <dgm:chMax val="0"/>
          <dgm:bulletEnabled val="1"/>
        </dgm:presLayoutVars>
      </dgm:prSet>
      <dgm:spPr/>
    </dgm:pt>
    <dgm:pt modelId="{FD301DE6-8639-4D8D-A250-950D52693C3D}" type="pres">
      <dgm:prSet presAssocID="{CB4F624B-3211-4D51-8193-CCD857790316}" presName="childText" presStyleLbl="revTx" presStyleIdx="0" presStyleCnt="1">
        <dgm:presLayoutVars>
          <dgm:bulletEnabled val="1"/>
        </dgm:presLayoutVars>
      </dgm:prSet>
      <dgm:spPr/>
    </dgm:pt>
    <dgm:pt modelId="{6D8247E7-3049-43B2-A3FA-00E18A6F406A}" type="pres">
      <dgm:prSet presAssocID="{7FD940AC-8478-4950-BE3B-F56BEACCF3A9}" presName="parentText" presStyleLbl="node1" presStyleIdx="1" presStyleCnt="4">
        <dgm:presLayoutVars>
          <dgm:chMax val="0"/>
          <dgm:bulletEnabled val="1"/>
        </dgm:presLayoutVars>
      </dgm:prSet>
      <dgm:spPr/>
    </dgm:pt>
    <dgm:pt modelId="{19CE2D41-F53D-43C6-B60D-F96F21D3A1FF}" type="pres">
      <dgm:prSet presAssocID="{7A051449-40BC-4E62-AA20-26A1AB9DD4F2}" presName="spacer" presStyleCnt="0"/>
      <dgm:spPr/>
    </dgm:pt>
    <dgm:pt modelId="{CF99A6E5-ADA8-4EE2-A76D-784362DB9F14}" type="pres">
      <dgm:prSet presAssocID="{20EE3305-B4F3-4167-BC63-FD0F1183559A}" presName="parentText" presStyleLbl="node1" presStyleIdx="2" presStyleCnt="4">
        <dgm:presLayoutVars>
          <dgm:chMax val="0"/>
          <dgm:bulletEnabled val="1"/>
        </dgm:presLayoutVars>
      </dgm:prSet>
      <dgm:spPr/>
    </dgm:pt>
    <dgm:pt modelId="{ECED2F7B-F539-44C9-BC61-987A44AB8F59}" type="pres">
      <dgm:prSet presAssocID="{365465F0-CD03-4446-B4B0-19EEE53CDFB1}" presName="spacer" presStyleCnt="0"/>
      <dgm:spPr/>
    </dgm:pt>
    <dgm:pt modelId="{B96391AC-ADAD-4291-8762-684B9EB31093}" type="pres">
      <dgm:prSet presAssocID="{DF72F77D-B218-4E24-AD48-28EAAFE27FC6}" presName="parentText" presStyleLbl="node1" presStyleIdx="3" presStyleCnt="4">
        <dgm:presLayoutVars>
          <dgm:chMax val="0"/>
          <dgm:bulletEnabled val="1"/>
        </dgm:presLayoutVars>
      </dgm:prSet>
      <dgm:spPr/>
    </dgm:pt>
  </dgm:ptLst>
  <dgm:cxnLst>
    <dgm:cxn modelId="{7F458E08-A594-43ED-8D13-2B31FB44D91B}" srcId="{B0122EA2-A6D3-4865-A753-0061F3B71615}" destId="{7FD940AC-8478-4950-BE3B-F56BEACCF3A9}" srcOrd="1" destOrd="0" parTransId="{E712D382-4A3D-41CF-BB27-DEBD5B8FFA28}" sibTransId="{7A051449-40BC-4E62-AA20-26A1AB9DD4F2}"/>
    <dgm:cxn modelId="{5CE8943E-FBEA-4CE4-94EF-9C9BC598EC07}" srcId="{B0122EA2-A6D3-4865-A753-0061F3B71615}" destId="{DF72F77D-B218-4E24-AD48-28EAAFE27FC6}" srcOrd="3" destOrd="0" parTransId="{F7B220C4-E7FA-469F-A6E3-D028CFDCA380}" sibTransId="{12B9724D-0056-45A2-A281-65AFAF80FCF0}"/>
    <dgm:cxn modelId="{5293B15D-1438-491B-A43B-F8FE97FFBA47}" type="presOf" srcId="{CB4F624B-3211-4D51-8193-CCD857790316}" destId="{ABB02360-EDB7-4750-A6A3-4ABC9E90F3ED}" srcOrd="0" destOrd="0" presId="urn:microsoft.com/office/officeart/2005/8/layout/vList2"/>
    <dgm:cxn modelId="{2B92F44D-FACB-4211-A531-C243DC762CB9}" type="presOf" srcId="{06149241-5AA9-4353-BFC3-C6320612D688}" destId="{FD301DE6-8639-4D8D-A250-950D52693C3D}" srcOrd="0" destOrd="0" presId="urn:microsoft.com/office/officeart/2005/8/layout/vList2"/>
    <dgm:cxn modelId="{05CE0188-4B22-4FE4-92C4-09FF00A7981E}" srcId="{CB4F624B-3211-4D51-8193-CCD857790316}" destId="{06149241-5AA9-4353-BFC3-C6320612D688}" srcOrd="0" destOrd="0" parTransId="{5931DC1C-7423-4002-ABCB-7C3809192548}" sibTransId="{6E5362BE-80A3-445D-B6C9-8974C1F9E2BF}"/>
    <dgm:cxn modelId="{29EB1799-ADC3-46B3-9531-C136C5BC324C}" type="presOf" srcId="{7FD940AC-8478-4950-BE3B-F56BEACCF3A9}" destId="{6D8247E7-3049-43B2-A3FA-00E18A6F406A}" srcOrd="0" destOrd="0" presId="urn:microsoft.com/office/officeart/2005/8/layout/vList2"/>
    <dgm:cxn modelId="{48F53AAA-440C-459B-921C-D7BA6BE3DEC7}" type="presOf" srcId="{DF72F77D-B218-4E24-AD48-28EAAFE27FC6}" destId="{B96391AC-ADAD-4291-8762-684B9EB31093}" srcOrd="0" destOrd="0" presId="urn:microsoft.com/office/officeart/2005/8/layout/vList2"/>
    <dgm:cxn modelId="{86B629BC-12C4-4C2C-A26B-81BD87646B71}" type="presOf" srcId="{20EE3305-B4F3-4167-BC63-FD0F1183559A}" destId="{CF99A6E5-ADA8-4EE2-A76D-784362DB9F14}" srcOrd="0" destOrd="0" presId="urn:microsoft.com/office/officeart/2005/8/layout/vList2"/>
    <dgm:cxn modelId="{CA5BA6C7-8F0B-4359-AFCD-67C4C85D31CA}" srcId="{B0122EA2-A6D3-4865-A753-0061F3B71615}" destId="{20EE3305-B4F3-4167-BC63-FD0F1183559A}" srcOrd="2" destOrd="0" parTransId="{637249E4-1A0B-4539-A305-C8DD9F8BFD04}" sibTransId="{365465F0-CD03-4446-B4B0-19EEE53CDFB1}"/>
    <dgm:cxn modelId="{6994FDE4-9943-4A64-8402-43003F24761C}" type="presOf" srcId="{B0122EA2-A6D3-4865-A753-0061F3B71615}" destId="{38138982-36ED-4C14-A8B4-039E5583EB97}" srcOrd="0" destOrd="0" presId="urn:microsoft.com/office/officeart/2005/8/layout/vList2"/>
    <dgm:cxn modelId="{7F688DF8-3EF7-4AF7-B0BA-5019352E7E32}" srcId="{B0122EA2-A6D3-4865-A753-0061F3B71615}" destId="{CB4F624B-3211-4D51-8193-CCD857790316}" srcOrd="0" destOrd="0" parTransId="{4731D37D-EFE4-4BE7-B66A-84ADC3DC85DF}" sibTransId="{8486F6FD-F5CC-49A7-A948-82651A588A3F}"/>
    <dgm:cxn modelId="{3E4D5C10-FCBF-4C14-A9DA-A5DB09FA46DC}" type="presParOf" srcId="{38138982-36ED-4C14-A8B4-039E5583EB97}" destId="{ABB02360-EDB7-4750-A6A3-4ABC9E90F3ED}" srcOrd="0" destOrd="0" presId="urn:microsoft.com/office/officeart/2005/8/layout/vList2"/>
    <dgm:cxn modelId="{CBEC8DF6-7541-4C5C-A142-43214EE4AEB4}" type="presParOf" srcId="{38138982-36ED-4C14-A8B4-039E5583EB97}" destId="{FD301DE6-8639-4D8D-A250-950D52693C3D}" srcOrd="1" destOrd="0" presId="urn:microsoft.com/office/officeart/2005/8/layout/vList2"/>
    <dgm:cxn modelId="{48C1CFD6-6DAB-4523-8599-9F30AB97AA16}" type="presParOf" srcId="{38138982-36ED-4C14-A8B4-039E5583EB97}" destId="{6D8247E7-3049-43B2-A3FA-00E18A6F406A}" srcOrd="2" destOrd="0" presId="urn:microsoft.com/office/officeart/2005/8/layout/vList2"/>
    <dgm:cxn modelId="{9610BBAF-0DDC-49C8-AF67-659AAAC6BAFC}" type="presParOf" srcId="{38138982-36ED-4C14-A8B4-039E5583EB97}" destId="{19CE2D41-F53D-43C6-B60D-F96F21D3A1FF}" srcOrd="3" destOrd="0" presId="urn:microsoft.com/office/officeart/2005/8/layout/vList2"/>
    <dgm:cxn modelId="{76B91CC5-D4A3-4DE8-9A4C-C678BBC22E21}" type="presParOf" srcId="{38138982-36ED-4C14-A8B4-039E5583EB97}" destId="{CF99A6E5-ADA8-4EE2-A76D-784362DB9F14}" srcOrd="4" destOrd="0" presId="urn:microsoft.com/office/officeart/2005/8/layout/vList2"/>
    <dgm:cxn modelId="{F0A606C8-F41D-40AA-A031-E0BB66996508}" type="presParOf" srcId="{38138982-36ED-4C14-A8B4-039E5583EB97}" destId="{ECED2F7B-F539-44C9-BC61-987A44AB8F59}" srcOrd="5" destOrd="0" presId="urn:microsoft.com/office/officeart/2005/8/layout/vList2"/>
    <dgm:cxn modelId="{80F2FC28-375A-4F2A-8264-B9500A691EA9}" type="presParOf" srcId="{38138982-36ED-4C14-A8B4-039E5583EB97}" destId="{B96391AC-ADAD-4291-8762-684B9EB31093}"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6C71BB68-D749-4A31-AB69-CC298695B459}"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18DAD00C-2171-4FDC-BBEB-56F9C1D480F2}">
      <dgm:prSet/>
      <dgm:spPr/>
      <dgm:t>
        <a:bodyPr/>
        <a:lstStyle/>
        <a:p>
          <a:r>
            <a:rPr lang="en-US" dirty="0"/>
            <a:t>In Azure, complete isolation of data from cloud administrators is only provided when client tier is running on-premises</a:t>
          </a:r>
        </a:p>
      </dgm:t>
    </dgm:pt>
    <dgm:pt modelId="{174BEB51-5A5F-4275-A5B9-5ABFC3B975C0}" type="parTrans" cxnId="{3C67837E-9B89-4118-8F39-8AE05B5F7D5C}">
      <dgm:prSet/>
      <dgm:spPr/>
      <dgm:t>
        <a:bodyPr/>
        <a:lstStyle/>
        <a:p>
          <a:endParaRPr lang="en-US"/>
        </a:p>
      </dgm:t>
    </dgm:pt>
    <dgm:pt modelId="{C8540592-738E-4620-8B5C-E8139F1A0038}" type="sibTrans" cxnId="{3C67837E-9B89-4118-8F39-8AE05B5F7D5C}">
      <dgm:prSet/>
      <dgm:spPr/>
      <dgm:t>
        <a:bodyPr/>
        <a:lstStyle/>
        <a:p>
          <a:endParaRPr lang="en-US"/>
        </a:p>
      </dgm:t>
    </dgm:pt>
    <dgm:pt modelId="{A63D6DFA-8FF0-4C9B-BB1A-45CB4035B837}">
      <dgm:prSet/>
      <dgm:spPr/>
      <dgm:t>
        <a:bodyPr/>
        <a:lstStyle/>
        <a:p>
          <a:r>
            <a:rPr lang="en-US"/>
            <a:t>If the client tier is running in the cloud, moving the encryption/decryption routine to the client tier still leaves data and keys exposed to cloud administrators</a:t>
          </a:r>
        </a:p>
      </dgm:t>
    </dgm:pt>
    <dgm:pt modelId="{5DCB48CC-74CD-4D93-B50E-98EE39DF006D}" type="parTrans" cxnId="{670D05F8-AFE7-4502-B0FE-F48DB4303A48}">
      <dgm:prSet/>
      <dgm:spPr/>
      <dgm:t>
        <a:bodyPr/>
        <a:lstStyle/>
        <a:p>
          <a:endParaRPr lang="en-US"/>
        </a:p>
      </dgm:t>
    </dgm:pt>
    <dgm:pt modelId="{E1E57C96-5D08-4878-8EF9-1EAA7FE9A39D}" type="sibTrans" cxnId="{670D05F8-AFE7-4502-B0FE-F48DB4303A48}">
      <dgm:prSet/>
      <dgm:spPr/>
      <dgm:t>
        <a:bodyPr/>
        <a:lstStyle/>
        <a:p>
          <a:endParaRPr lang="en-US"/>
        </a:p>
      </dgm:t>
    </dgm:pt>
    <dgm:pt modelId="{D46A0E54-1E1D-43A1-9CAC-B191B8C8E244}">
      <dgm:prSet/>
      <dgm:spPr/>
      <dgm:t>
        <a:bodyPr/>
        <a:lstStyle/>
        <a:p>
          <a:r>
            <a:rPr lang="en-US"/>
            <a:t>Test application workload to ensure that restrictions and limitation do not affect your application</a:t>
          </a:r>
        </a:p>
      </dgm:t>
    </dgm:pt>
    <dgm:pt modelId="{611BBE23-1FB3-4338-AC18-5E4169CA9506}" type="parTrans" cxnId="{4A65D3C3-7890-4D1C-8CBD-49681670C652}">
      <dgm:prSet/>
      <dgm:spPr/>
      <dgm:t>
        <a:bodyPr/>
        <a:lstStyle/>
        <a:p>
          <a:endParaRPr lang="en-US"/>
        </a:p>
      </dgm:t>
    </dgm:pt>
    <dgm:pt modelId="{7980560B-39F1-4169-BB5E-A4C4CEF6170D}" type="sibTrans" cxnId="{4A65D3C3-7890-4D1C-8CBD-49681670C652}">
      <dgm:prSet/>
      <dgm:spPr/>
      <dgm:t>
        <a:bodyPr/>
        <a:lstStyle/>
        <a:p>
          <a:endParaRPr lang="en-US"/>
        </a:p>
      </dgm:t>
    </dgm:pt>
    <dgm:pt modelId="{15054B6F-02D2-4C18-9B6B-3CE570218F8B}">
      <dgm:prSet/>
      <dgm:spPr/>
      <dgm:t>
        <a:bodyPr/>
        <a:lstStyle/>
        <a:p>
          <a:r>
            <a:rPr lang="en-US"/>
            <a:t>Carefully evaluate randomized vs deterministic encryption</a:t>
          </a:r>
        </a:p>
      </dgm:t>
    </dgm:pt>
    <dgm:pt modelId="{6C2D163E-B8D3-41CD-ADD5-8ED2A2916EE2}" type="parTrans" cxnId="{60CE200A-07EC-450F-BA0C-7E61A5577422}">
      <dgm:prSet/>
      <dgm:spPr/>
      <dgm:t>
        <a:bodyPr/>
        <a:lstStyle/>
        <a:p>
          <a:endParaRPr lang="en-US"/>
        </a:p>
      </dgm:t>
    </dgm:pt>
    <dgm:pt modelId="{FF0ED0B8-DEEF-41DB-A21C-F652E1CFBDC4}" type="sibTrans" cxnId="{60CE200A-07EC-450F-BA0C-7E61A5577422}">
      <dgm:prSet/>
      <dgm:spPr/>
      <dgm:t>
        <a:bodyPr/>
        <a:lstStyle/>
        <a:p>
          <a:endParaRPr lang="en-US"/>
        </a:p>
      </dgm:t>
    </dgm:pt>
    <dgm:pt modelId="{CC294707-28D8-45A1-BD54-DBBCA786684B}" type="pres">
      <dgm:prSet presAssocID="{6C71BB68-D749-4A31-AB69-CC298695B459}" presName="root" presStyleCnt="0">
        <dgm:presLayoutVars>
          <dgm:dir/>
          <dgm:resizeHandles val="exact"/>
        </dgm:presLayoutVars>
      </dgm:prSet>
      <dgm:spPr/>
    </dgm:pt>
    <dgm:pt modelId="{5ED5509C-ED9A-4883-B547-8BA009969EE5}" type="pres">
      <dgm:prSet presAssocID="{18DAD00C-2171-4FDC-BBEB-56F9C1D480F2}" presName="compNode" presStyleCnt="0"/>
      <dgm:spPr/>
    </dgm:pt>
    <dgm:pt modelId="{2C5983D4-FCC7-4772-850E-EBC269451F96}" type="pres">
      <dgm:prSet presAssocID="{18DAD00C-2171-4FDC-BBEB-56F9C1D480F2}" presName="bgRect" presStyleLbl="bgShp" presStyleIdx="0" presStyleCnt="4"/>
      <dgm:spPr/>
    </dgm:pt>
    <dgm:pt modelId="{5BE86011-E7A9-4CCA-A653-4550C7573F52}" type="pres">
      <dgm:prSet presAssocID="{18DAD00C-2171-4FDC-BBEB-56F9C1D480F2}"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yncing Cloud"/>
        </a:ext>
      </dgm:extLst>
    </dgm:pt>
    <dgm:pt modelId="{80AEA006-1B48-4B2E-BAEC-A304FE5CBA73}" type="pres">
      <dgm:prSet presAssocID="{18DAD00C-2171-4FDC-BBEB-56F9C1D480F2}" presName="spaceRect" presStyleCnt="0"/>
      <dgm:spPr/>
    </dgm:pt>
    <dgm:pt modelId="{7F158E39-93EB-4804-AF1E-B390E812D753}" type="pres">
      <dgm:prSet presAssocID="{18DAD00C-2171-4FDC-BBEB-56F9C1D480F2}" presName="parTx" presStyleLbl="revTx" presStyleIdx="0" presStyleCnt="4">
        <dgm:presLayoutVars>
          <dgm:chMax val="0"/>
          <dgm:chPref val="0"/>
        </dgm:presLayoutVars>
      </dgm:prSet>
      <dgm:spPr/>
    </dgm:pt>
    <dgm:pt modelId="{AE2909D3-4B1A-4756-A178-BBD4EA944EEE}" type="pres">
      <dgm:prSet presAssocID="{C8540592-738E-4620-8B5C-E8139F1A0038}" presName="sibTrans" presStyleCnt="0"/>
      <dgm:spPr/>
    </dgm:pt>
    <dgm:pt modelId="{D59023C8-7B63-40A0-837A-AA7B04E6905A}" type="pres">
      <dgm:prSet presAssocID="{A63D6DFA-8FF0-4C9B-BB1A-45CB4035B837}" presName="compNode" presStyleCnt="0"/>
      <dgm:spPr/>
    </dgm:pt>
    <dgm:pt modelId="{233B00CF-562B-41DB-A466-CF285A77815E}" type="pres">
      <dgm:prSet presAssocID="{A63D6DFA-8FF0-4C9B-BB1A-45CB4035B837}" presName="bgRect" presStyleLbl="bgShp" presStyleIdx="1" presStyleCnt="4"/>
      <dgm:spPr/>
    </dgm:pt>
    <dgm:pt modelId="{F0EB8670-3EF7-4E13-81D7-DF6531B02A90}" type="pres">
      <dgm:prSet presAssocID="{A63D6DFA-8FF0-4C9B-BB1A-45CB4035B837}"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loud Computing"/>
        </a:ext>
      </dgm:extLst>
    </dgm:pt>
    <dgm:pt modelId="{6BF6C3AD-E66A-40D1-BD77-ED17EC9952AE}" type="pres">
      <dgm:prSet presAssocID="{A63D6DFA-8FF0-4C9B-BB1A-45CB4035B837}" presName="spaceRect" presStyleCnt="0"/>
      <dgm:spPr/>
    </dgm:pt>
    <dgm:pt modelId="{3ADA1BCF-4B6B-4919-886C-E6161488BAEE}" type="pres">
      <dgm:prSet presAssocID="{A63D6DFA-8FF0-4C9B-BB1A-45CB4035B837}" presName="parTx" presStyleLbl="revTx" presStyleIdx="1" presStyleCnt="4">
        <dgm:presLayoutVars>
          <dgm:chMax val="0"/>
          <dgm:chPref val="0"/>
        </dgm:presLayoutVars>
      </dgm:prSet>
      <dgm:spPr/>
    </dgm:pt>
    <dgm:pt modelId="{9D04FC97-2C91-497C-9EC6-4A9886876475}" type="pres">
      <dgm:prSet presAssocID="{E1E57C96-5D08-4878-8EF9-1EAA7FE9A39D}" presName="sibTrans" presStyleCnt="0"/>
      <dgm:spPr/>
    </dgm:pt>
    <dgm:pt modelId="{8C114157-E128-427B-8EB4-3B7CF3427FA2}" type="pres">
      <dgm:prSet presAssocID="{D46A0E54-1E1D-43A1-9CAC-B191B8C8E244}" presName="compNode" presStyleCnt="0"/>
      <dgm:spPr/>
    </dgm:pt>
    <dgm:pt modelId="{0A8F0D1B-0A0A-4A63-A86A-200AEBBDC845}" type="pres">
      <dgm:prSet presAssocID="{D46A0E54-1E1D-43A1-9CAC-B191B8C8E244}" presName="bgRect" presStyleLbl="bgShp" presStyleIdx="2" presStyleCnt="4"/>
      <dgm:spPr/>
    </dgm:pt>
    <dgm:pt modelId="{2C4A66E3-A49C-4965-9316-951735426444}" type="pres">
      <dgm:prSet presAssocID="{D46A0E54-1E1D-43A1-9CAC-B191B8C8E244}"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Test Dummy"/>
        </a:ext>
      </dgm:extLst>
    </dgm:pt>
    <dgm:pt modelId="{3A580129-0EFB-42F2-9279-5F52AEE67B4A}" type="pres">
      <dgm:prSet presAssocID="{D46A0E54-1E1D-43A1-9CAC-B191B8C8E244}" presName="spaceRect" presStyleCnt="0"/>
      <dgm:spPr/>
    </dgm:pt>
    <dgm:pt modelId="{45932597-417A-4FF4-8271-001B0BA21728}" type="pres">
      <dgm:prSet presAssocID="{D46A0E54-1E1D-43A1-9CAC-B191B8C8E244}" presName="parTx" presStyleLbl="revTx" presStyleIdx="2" presStyleCnt="4">
        <dgm:presLayoutVars>
          <dgm:chMax val="0"/>
          <dgm:chPref val="0"/>
        </dgm:presLayoutVars>
      </dgm:prSet>
      <dgm:spPr/>
    </dgm:pt>
    <dgm:pt modelId="{0C932B86-4BC7-49F7-A6CA-D327073000CF}" type="pres">
      <dgm:prSet presAssocID="{7980560B-39F1-4169-BB5E-A4C4CEF6170D}" presName="sibTrans" presStyleCnt="0"/>
      <dgm:spPr/>
    </dgm:pt>
    <dgm:pt modelId="{DA6FABFF-9440-45F2-A527-44194FD472E8}" type="pres">
      <dgm:prSet presAssocID="{15054B6F-02D2-4C18-9B6B-3CE570218F8B}" presName="compNode" presStyleCnt="0"/>
      <dgm:spPr/>
    </dgm:pt>
    <dgm:pt modelId="{5DA5D30B-44E1-4997-82AB-17C602005BB5}" type="pres">
      <dgm:prSet presAssocID="{15054B6F-02D2-4C18-9B6B-3CE570218F8B}" presName="bgRect" presStyleLbl="bgShp" presStyleIdx="3" presStyleCnt="4"/>
      <dgm:spPr/>
    </dgm:pt>
    <dgm:pt modelId="{F2F4592B-62CB-4C7D-A54E-2075FFCD94A8}" type="pres">
      <dgm:prSet presAssocID="{15054B6F-02D2-4C18-9B6B-3CE570218F8B}"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cales of Justice"/>
        </a:ext>
      </dgm:extLst>
    </dgm:pt>
    <dgm:pt modelId="{7608C250-79E7-4D51-A2DE-0D346E55FC33}" type="pres">
      <dgm:prSet presAssocID="{15054B6F-02D2-4C18-9B6B-3CE570218F8B}" presName="spaceRect" presStyleCnt="0"/>
      <dgm:spPr/>
    </dgm:pt>
    <dgm:pt modelId="{D182B079-C078-46B6-BB84-849BC83232F3}" type="pres">
      <dgm:prSet presAssocID="{15054B6F-02D2-4C18-9B6B-3CE570218F8B}" presName="parTx" presStyleLbl="revTx" presStyleIdx="3" presStyleCnt="4">
        <dgm:presLayoutVars>
          <dgm:chMax val="0"/>
          <dgm:chPref val="0"/>
        </dgm:presLayoutVars>
      </dgm:prSet>
      <dgm:spPr/>
    </dgm:pt>
  </dgm:ptLst>
  <dgm:cxnLst>
    <dgm:cxn modelId="{60CE200A-07EC-450F-BA0C-7E61A5577422}" srcId="{6C71BB68-D749-4A31-AB69-CC298695B459}" destId="{15054B6F-02D2-4C18-9B6B-3CE570218F8B}" srcOrd="3" destOrd="0" parTransId="{6C2D163E-B8D3-41CD-ADD5-8ED2A2916EE2}" sibTransId="{FF0ED0B8-DEEF-41DB-A21C-F652E1CFBDC4}"/>
    <dgm:cxn modelId="{3C67837E-9B89-4118-8F39-8AE05B5F7D5C}" srcId="{6C71BB68-D749-4A31-AB69-CC298695B459}" destId="{18DAD00C-2171-4FDC-BBEB-56F9C1D480F2}" srcOrd="0" destOrd="0" parTransId="{174BEB51-5A5F-4275-A5B9-5ABFC3B975C0}" sibTransId="{C8540592-738E-4620-8B5C-E8139F1A0038}"/>
    <dgm:cxn modelId="{A7DBF29C-D96F-426E-B954-576D69838865}" type="presOf" srcId="{6C71BB68-D749-4A31-AB69-CC298695B459}" destId="{CC294707-28D8-45A1-BD54-DBBCA786684B}" srcOrd="0" destOrd="0" presId="urn:microsoft.com/office/officeart/2018/2/layout/IconVerticalSolidList"/>
    <dgm:cxn modelId="{543104B3-9CD5-464F-B3A3-B1716EBB1866}" type="presOf" srcId="{D46A0E54-1E1D-43A1-9CAC-B191B8C8E244}" destId="{45932597-417A-4FF4-8271-001B0BA21728}" srcOrd="0" destOrd="0" presId="urn:microsoft.com/office/officeart/2018/2/layout/IconVerticalSolidList"/>
    <dgm:cxn modelId="{3EECB4BD-AEF8-4CA8-89C4-666FBF7F1003}" type="presOf" srcId="{A63D6DFA-8FF0-4C9B-BB1A-45CB4035B837}" destId="{3ADA1BCF-4B6B-4919-886C-E6161488BAEE}" srcOrd="0" destOrd="0" presId="urn:microsoft.com/office/officeart/2018/2/layout/IconVerticalSolidList"/>
    <dgm:cxn modelId="{DCBE50C2-43DD-42BB-9FB5-8ADD81CC1918}" type="presOf" srcId="{15054B6F-02D2-4C18-9B6B-3CE570218F8B}" destId="{D182B079-C078-46B6-BB84-849BC83232F3}" srcOrd="0" destOrd="0" presId="urn:microsoft.com/office/officeart/2018/2/layout/IconVerticalSolidList"/>
    <dgm:cxn modelId="{4A65D3C3-7890-4D1C-8CBD-49681670C652}" srcId="{6C71BB68-D749-4A31-AB69-CC298695B459}" destId="{D46A0E54-1E1D-43A1-9CAC-B191B8C8E244}" srcOrd="2" destOrd="0" parTransId="{611BBE23-1FB3-4338-AC18-5E4169CA9506}" sibTransId="{7980560B-39F1-4169-BB5E-A4C4CEF6170D}"/>
    <dgm:cxn modelId="{F5CEB0ED-6E55-4A4F-98BB-11BDBD88CB31}" type="presOf" srcId="{18DAD00C-2171-4FDC-BBEB-56F9C1D480F2}" destId="{7F158E39-93EB-4804-AF1E-B390E812D753}" srcOrd="0" destOrd="0" presId="urn:microsoft.com/office/officeart/2018/2/layout/IconVerticalSolidList"/>
    <dgm:cxn modelId="{670D05F8-AFE7-4502-B0FE-F48DB4303A48}" srcId="{6C71BB68-D749-4A31-AB69-CC298695B459}" destId="{A63D6DFA-8FF0-4C9B-BB1A-45CB4035B837}" srcOrd="1" destOrd="0" parTransId="{5DCB48CC-74CD-4D93-B50E-98EE39DF006D}" sibTransId="{E1E57C96-5D08-4878-8EF9-1EAA7FE9A39D}"/>
    <dgm:cxn modelId="{CCD74A18-E745-4833-987C-E7A2B111EDA7}" type="presParOf" srcId="{CC294707-28D8-45A1-BD54-DBBCA786684B}" destId="{5ED5509C-ED9A-4883-B547-8BA009969EE5}" srcOrd="0" destOrd="0" presId="urn:microsoft.com/office/officeart/2018/2/layout/IconVerticalSolidList"/>
    <dgm:cxn modelId="{142F0E6A-CD97-4C02-8877-386FA4601BE8}" type="presParOf" srcId="{5ED5509C-ED9A-4883-B547-8BA009969EE5}" destId="{2C5983D4-FCC7-4772-850E-EBC269451F96}" srcOrd="0" destOrd="0" presId="urn:microsoft.com/office/officeart/2018/2/layout/IconVerticalSolidList"/>
    <dgm:cxn modelId="{0226DCC0-CA5C-42FC-B27C-75033BA226E3}" type="presParOf" srcId="{5ED5509C-ED9A-4883-B547-8BA009969EE5}" destId="{5BE86011-E7A9-4CCA-A653-4550C7573F52}" srcOrd="1" destOrd="0" presId="urn:microsoft.com/office/officeart/2018/2/layout/IconVerticalSolidList"/>
    <dgm:cxn modelId="{078B38C4-92C9-47EB-A69D-05CEBDB6A681}" type="presParOf" srcId="{5ED5509C-ED9A-4883-B547-8BA009969EE5}" destId="{80AEA006-1B48-4B2E-BAEC-A304FE5CBA73}" srcOrd="2" destOrd="0" presId="urn:microsoft.com/office/officeart/2018/2/layout/IconVerticalSolidList"/>
    <dgm:cxn modelId="{C246EC9E-B958-4834-BA5D-1DCECDEBCD5F}" type="presParOf" srcId="{5ED5509C-ED9A-4883-B547-8BA009969EE5}" destId="{7F158E39-93EB-4804-AF1E-B390E812D753}" srcOrd="3" destOrd="0" presId="urn:microsoft.com/office/officeart/2018/2/layout/IconVerticalSolidList"/>
    <dgm:cxn modelId="{CE25E803-A415-41EE-AFA5-ED74FE7F6D2D}" type="presParOf" srcId="{CC294707-28D8-45A1-BD54-DBBCA786684B}" destId="{AE2909D3-4B1A-4756-A178-BBD4EA944EEE}" srcOrd="1" destOrd="0" presId="urn:microsoft.com/office/officeart/2018/2/layout/IconVerticalSolidList"/>
    <dgm:cxn modelId="{75650A83-F28F-4DB0-8CB9-E48452B140FB}" type="presParOf" srcId="{CC294707-28D8-45A1-BD54-DBBCA786684B}" destId="{D59023C8-7B63-40A0-837A-AA7B04E6905A}" srcOrd="2" destOrd="0" presId="urn:microsoft.com/office/officeart/2018/2/layout/IconVerticalSolidList"/>
    <dgm:cxn modelId="{C6891C44-17E8-415F-B37A-D2A498AF1825}" type="presParOf" srcId="{D59023C8-7B63-40A0-837A-AA7B04E6905A}" destId="{233B00CF-562B-41DB-A466-CF285A77815E}" srcOrd="0" destOrd="0" presId="urn:microsoft.com/office/officeart/2018/2/layout/IconVerticalSolidList"/>
    <dgm:cxn modelId="{5977BF1A-86B2-4F89-B996-46AA156FA4CF}" type="presParOf" srcId="{D59023C8-7B63-40A0-837A-AA7B04E6905A}" destId="{F0EB8670-3EF7-4E13-81D7-DF6531B02A90}" srcOrd="1" destOrd="0" presId="urn:microsoft.com/office/officeart/2018/2/layout/IconVerticalSolidList"/>
    <dgm:cxn modelId="{FF16342C-B823-496A-BD81-28CD3CAAC180}" type="presParOf" srcId="{D59023C8-7B63-40A0-837A-AA7B04E6905A}" destId="{6BF6C3AD-E66A-40D1-BD77-ED17EC9952AE}" srcOrd="2" destOrd="0" presId="urn:microsoft.com/office/officeart/2018/2/layout/IconVerticalSolidList"/>
    <dgm:cxn modelId="{BFAE592C-54DB-4C24-8767-C1F7EC411491}" type="presParOf" srcId="{D59023C8-7B63-40A0-837A-AA7B04E6905A}" destId="{3ADA1BCF-4B6B-4919-886C-E6161488BAEE}" srcOrd="3" destOrd="0" presId="urn:microsoft.com/office/officeart/2018/2/layout/IconVerticalSolidList"/>
    <dgm:cxn modelId="{00C47171-C3CA-4D51-9987-B65043049F02}" type="presParOf" srcId="{CC294707-28D8-45A1-BD54-DBBCA786684B}" destId="{9D04FC97-2C91-497C-9EC6-4A9886876475}" srcOrd="3" destOrd="0" presId="urn:microsoft.com/office/officeart/2018/2/layout/IconVerticalSolidList"/>
    <dgm:cxn modelId="{C6E3A648-FDBD-4C2E-ADCB-2CF5957FE0D6}" type="presParOf" srcId="{CC294707-28D8-45A1-BD54-DBBCA786684B}" destId="{8C114157-E128-427B-8EB4-3B7CF3427FA2}" srcOrd="4" destOrd="0" presId="urn:microsoft.com/office/officeart/2018/2/layout/IconVerticalSolidList"/>
    <dgm:cxn modelId="{EB066C22-D7EE-4FCD-9CA2-68D56366BC40}" type="presParOf" srcId="{8C114157-E128-427B-8EB4-3B7CF3427FA2}" destId="{0A8F0D1B-0A0A-4A63-A86A-200AEBBDC845}" srcOrd="0" destOrd="0" presId="urn:microsoft.com/office/officeart/2018/2/layout/IconVerticalSolidList"/>
    <dgm:cxn modelId="{BA45BBD5-B2BD-4C32-A4B9-7717042E20C2}" type="presParOf" srcId="{8C114157-E128-427B-8EB4-3B7CF3427FA2}" destId="{2C4A66E3-A49C-4965-9316-951735426444}" srcOrd="1" destOrd="0" presId="urn:microsoft.com/office/officeart/2018/2/layout/IconVerticalSolidList"/>
    <dgm:cxn modelId="{ABF9801A-6A0F-4F54-8ACA-40E67DF48DC4}" type="presParOf" srcId="{8C114157-E128-427B-8EB4-3B7CF3427FA2}" destId="{3A580129-0EFB-42F2-9279-5F52AEE67B4A}" srcOrd="2" destOrd="0" presId="urn:microsoft.com/office/officeart/2018/2/layout/IconVerticalSolidList"/>
    <dgm:cxn modelId="{7D4E2B8E-F138-4311-9CAE-CAB79E5121E9}" type="presParOf" srcId="{8C114157-E128-427B-8EB4-3B7CF3427FA2}" destId="{45932597-417A-4FF4-8271-001B0BA21728}" srcOrd="3" destOrd="0" presId="urn:microsoft.com/office/officeart/2018/2/layout/IconVerticalSolidList"/>
    <dgm:cxn modelId="{28B2C796-2BF8-477E-BCAC-4721DA790A9F}" type="presParOf" srcId="{CC294707-28D8-45A1-BD54-DBBCA786684B}" destId="{0C932B86-4BC7-49F7-A6CA-D327073000CF}" srcOrd="5" destOrd="0" presId="urn:microsoft.com/office/officeart/2018/2/layout/IconVerticalSolidList"/>
    <dgm:cxn modelId="{D5328775-37B7-4A93-BB8C-9AADDE8E795C}" type="presParOf" srcId="{CC294707-28D8-45A1-BD54-DBBCA786684B}" destId="{DA6FABFF-9440-45F2-A527-44194FD472E8}" srcOrd="6" destOrd="0" presId="urn:microsoft.com/office/officeart/2018/2/layout/IconVerticalSolidList"/>
    <dgm:cxn modelId="{44C04C45-B005-45E1-A836-6F31E2F8E185}" type="presParOf" srcId="{DA6FABFF-9440-45F2-A527-44194FD472E8}" destId="{5DA5D30B-44E1-4997-82AB-17C602005BB5}" srcOrd="0" destOrd="0" presId="urn:microsoft.com/office/officeart/2018/2/layout/IconVerticalSolidList"/>
    <dgm:cxn modelId="{7D96E839-6D1B-4F22-84B5-A4D012009B2E}" type="presParOf" srcId="{DA6FABFF-9440-45F2-A527-44194FD472E8}" destId="{F2F4592B-62CB-4C7D-A54E-2075FFCD94A8}" srcOrd="1" destOrd="0" presId="urn:microsoft.com/office/officeart/2018/2/layout/IconVerticalSolidList"/>
    <dgm:cxn modelId="{C8D61AC6-97E2-4548-9BEB-B6B52970143F}" type="presParOf" srcId="{DA6FABFF-9440-45F2-A527-44194FD472E8}" destId="{7608C250-79E7-4D51-A2DE-0D346E55FC33}" srcOrd="2" destOrd="0" presId="urn:microsoft.com/office/officeart/2018/2/layout/IconVerticalSolidList"/>
    <dgm:cxn modelId="{94FA415E-5884-44DC-9580-ED316090B62A}" type="presParOf" srcId="{DA6FABFF-9440-45F2-A527-44194FD472E8}" destId="{D182B079-C078-46B6-BB84-849BC83232F3}"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D66E303-1FC6-4037-92A4-F7CE7FF5528D}"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338B0C78-1D43-402F-8B96-34ADACE9061E}">
      <dgm:prSet/>
      <dgm:spPr/>
      <dgm:t>
        <a:bodyPr/>
        <a:lstStyle/>
        <a:p>
          <a:r>
            <a:rPr lang="en-US"/>
            <a:t>Deterministic vs Randomized</a:t>
          </a:r>
        </a:p>
      </dgm:t>
    </dgm:pt>
    <dgm:pt modelId="{2FA55798-6A5C-4356-928D-08D2F59A73CC}" type="parTrans" cxnId="{11C7CC25-DB55-462F-88F1-951A4F6B97F9}">
      <dgm:prSet/>
      <dgm:spPr/>
      <dgm:t>
        <a:bodyPr/>
        <a:lstStyle/>
        <a:p>
          <a:endParaRPr lang="en-US"/>
        </a:p>
      </dgm:t>
    </dgm:pt>
    <dgm:pt modelId="{5ECAA739-4D3E-4EBC-9F20-36D48A4B242D}" type="sibTrans" cxnId="{11C7CC25-DB55-462F-88F1-951A4F6B97F9}">
      <dgm:prSet/>
      <dgm:spPr/>
      <dgm:t>
        <a:bodyPr/>
        <a:lstStyle/>
        <a:p>
          <a:endParaRPr lang="en-US"/>
        </a:p>
      </dgm:t>
    </dgm:pt>
    <dgm:pt modelId="{B993B3F0-2A81-4813-9DA3-254694B303A3}">
      <dgm:prSet/>
      <dgm:spPr/>
      <dgm:t>
        <a:bodyPr/>
        <a:lstStyle/>
        <a:p>
          <a:r>
            <a:rPr lang="en-US"/>
            <a:t>Column limitations based on constraints and data types</a:t>
          </a:r>
        </a:p>
      </dgm:t>
    </dgm:pt>
    <dgm:pt modelId="{83F64991-0C6F-4E45-9947-7615CD97C766}" type="parTrans" cxnId="{93848B72-1B85-468E-8498-A5067975B213}">
      <dgm:prSet/>
      <dgm:spPr/>
      <dgm:t>
        <a:bodyPr/>
        <a:lstStyle/>
        <a:p>
          <a:endParaRPr lang="en-US"/>
        </a:p>
      </dgm:t>
    </dgm:pt>
    <dgm:pt modelId="{584AF18E-769E-4244-8D0D-B49DD8BA3EC5}" type="sibTrans" cxnId="{93848B72-1B85-468E-8498-A5067975B213}">
      <dgm:prSet/>
      <dgm:spPr/>
      <dgm:t>
        <a:bodyPr/>
        <a:lstStyle/>
        <a:p>
          <a:endParaRPr lang="en-US"/>
        </a:p>
      </dgm:t>
    </dgm:pt>
    <dgm:pt modelId="{E8277049-1686-478F-9985-12297B72E8A6}">
      <dgm:prSet/>
      <dgm:spPr/>
      <dgm:t>
        <a:bodyPr/>
        <a:lstStyle/>
        <a:p>
          <a:r>
            <a:rPr lang="en-US"/>
            <a:t>Uses different certificates than backups or TDE</a:t>
          </a:r>
        </a:p>
      </dgm:t>
    </dgm:pt>
    <dgm:pt modelId="{65091F24-1317-47FF-8ED3-7269B5F7CDD0}" type="parTrans" cxnId="{EFD8A89B-5A75-4353-B0DA-1991FEC62314}">
      <dgm:prSet/>
      <dgm:spPr/>
      <dgm:t>
        <a:bodyPr/>
        <a:lstStyle/>
        <a:p>
          <a:endParaRPr lang="en-US"/>
        </a:p>
      </dgm:t>
    </dgm:pt>
    <dgm:pt modelId="{A21FE979-3C8B-49BC-BBD0-BD606BAB97CC}" type="sibTrans" cxnId="{EFD8A89B-5A75-4353-B0DA-1991FEC62314}">
      <dgm:prSet/>
      <dgm:spPr/>
      <dgm:t>
        <a:bodyPr/>
        <a:lstStyle/>
        <a:p>
          <a:endParaRPr lang="en-US"/>
        </a:p>
      </dgm:t>
    </dgm:pt>
    <dgm:pt modelId="{FB3F1351-3AC9-4A3A-A8D9-00D1732F0EE1}">
      <dgm:prSet/>
      <dgm:spPr/>
      <dgm:t>
        <a:bodyPr/>
        <a:lstStyle/>
        <a:p>
          <a:r>
            <a:rPr lang="en-US"/>
            <a:t>Blocking operation while being encrypted</a:t>
          </a:r>
        </a:p>
      </dgm:t>
    </dgm:pt>
    <dgm:pt modelId="{9B3C3A6B-989B-4B58-A2D5-82C8589B94D0}" type="parTrans" cxnId="{A4A9834A-5790-46D0-AD74-200750EC5EA0}">
      <dgm:prSet/>
      <dgm:spPr/>
      <dgm:t>
        <a:bodyPr/>
        <a:lstStyle/>
        <a:p>
          <a:endParaRPr lang="en-US"/>
        </a:p>
      </dgm:t>
    </dgm:pt>
    <dgm:pt modelId="{D75AE1FB-B2FE-497F-AE46-A4914F3CC1BA}" type="sibTrans" cxnId="{A4A9834A-5790-46D0-AD74-200750EC5EA0}">
      <dgm:prSet/>
      <dgm:spPr/>
      <dgm:t>
        <a:bodyPr/>
        <a:lstStyle/>
        <a:p>
          <a:endParaRPr lang="en-US"/>
        </a:p>
      </dgm:t>
    </dgm:pt>
    <dgm:pt modelId="{24D3E531-66FB-4590-B8FC-C53D5891804D}" type="pres">
      <dgm:prSet presAssocID="{8D66E303-1FC6-4037-92A4-F7CE7FF5528D}" presName="linear" presStyleCnt="0">
        <dgm:presLayoutVars>
          <dgm:animLvl val="lvl"/>
          <dgm:resizeHandles val="exact"/>
        </dgm:presLayoutVars>
      </dgm:prSet>
      <dgm:spPr/>
    </dgm:pt>
    <dgm:pt modelId="{E1781EF9-90DF-40DB-9307-D3665F2BD6D3}" type="pres">
      <dgm:prSet presAssocID="{338B0C78-1D43-402F-8B96-34ADACE9061E}" presName="parentText" presStyleLbl="node1" presStyleIdx="0" presStyleCnt="4">
        <dgm:presLayoutVars>
          <dgm:chMax val="0"/>
          <dgm:bulletEnabled val="1"/>
        </dgm:presLayoutVars>
      </dgm:prSet>
      <dgm:spPr/>
    </dgm:pt>
    <dgm:pt modelId="{E6A16E98-E2F7-4058-ADA4-D3044442B937}" type="pres">
      <dgm:prSet presAssocID="{5ECAA739-4D3E-4EBC-9F20-36D48A4B242D}" presName="spacer" presStyleCnt="0"/>
      <dgm:spPr/>
    </dgm:pt>
    <dgm:pt modelId="{860095FD-F362-49A4-BC62-7C1A17D40A70}" type="pres">
      <dgm:prSet presAssocID="{B993B3F0-2A81-4813-9DA3-254694B303A3}" presName="parentText" presStyleLbl="node1" presStyleIdx="1" presStyleCnt="4">
        <dgm:presLayoutVars>
          <dgm:chMax val="0"/>
          <dgm:bulletEnabled val="1"/>
        </dgm:presLayoutVars>
      </dgm:prSet>
      <dgm:spPr/>
    </dgm:pt>
    <dgm:pt modelId="{8159EE20-7098-4489-8456-36E0FF2C5585}" type="pres">
      <dgm:prSet presAssocID="{584AF18E-769E-4244-8D0D-B49DD8BA3EC5}" presName="spacer" presStyleCnt="0"/>
      <dgm:spPr/>
    </dgm:pt>
    <dgm:pt modelId="{D302BF4F-7CF4-407D-9A89-F489FFB63C94}" type="pres">
      <dgm:prSet presAssocID="{E8277049-1686-478F-9985-12297B72E8A6}" presName="parentText" presStyleLbl="node1" presStyleIdx="2" presStyleCnt="4">
        <dgm:presLayoutVars>
          <dgm:chMax val="0"/>
          <dgm:bulletEnabled val="1"/>
        </dgm:presLayoutVars>
      </dgm:prSet>
      <dgm:spPr/>
    </dgm:pt>
    <dgm:pt modelId="{A63747D2-62DA-44BB-BC1F-712EE26E15A1}" type="pres">
      <dgm:prSet presAssocID="{A21FE979-3C8B-49BC-BBD0-BD606BAB97CC}" presName="spacer" presStyleCnt="0"/>
      <dgm:spPr/>
    </dgm:pt>
    <dgm:pt modelId="{B8871C80-A4C7-49C5-8AE9-D84E0D0A7529}" type="pres">
      <dgm:prSet presAssocID="{FB3F1351-3AC9-4A3A-A8D9-00D1732F0EE1}" presName="parentText" presStyleLbl="node1" presStyleIdx="3" presStyleCnt="4">
        <dgm:presLayoutVars>
          <dgm:chMax val="0"/>
          <dgm:bulletEnabled val="1"/>
        </dgm:presLayoutVars>
      </dgm:prSet>
      <dgm:spPr/>
    </dgm:pt>
  </dgm:ptLst>
  <dgm:cxnLst>
    <dgm:cxn modelId="{C05D7422-8E59-4F44-80F7-F51791F49250}" type="presOf" srcId="{B993B3F0-2A81-4813-9DA3-254694B303A3}" destId="{860095FD-F362-49A4-BC62-7C1A17D40A70}" srcOrd="0" destOrd="0" presId="urn:microsoft.com/office/officeart/2005/8/layout/vList2"/>
    <dgm:cxn modelId="{11C7CC25-DB55-462F-88F1-951A4F6B97F9}" srcId="{8D66E303-1FC6-4037-92A4-F7CE7FF5528D}" destId="{338B0C78-1D43-402F-8B96-34ADACE9061E}" srcOrd="0" destOrd="0" parTransId="{2FA55798-6A5C-4356-928D-08D2F59A73CC}" sibTransId="{5ECAA739-4D3E-4EBC-9F20-36D48A4B242D}"/>
    <dgm:cxn modelId="{A1DB602E-F465-40E6-9B7F-758D8BE4C2ED}" type="presOf" srcId="{FB3F1351-3AC9-4A3A-A8D9-00D1732F0EE1}" destId="{B8871C80-A4C7-49C5-8AE9-D84E0D0A7529}" srcOrd="0" destOrd="0" presId="urn:microsoft.com/office/officeart/2005/8/layout/vList2"/>
    <dgm:cxn modelId="{BE232331-91AC-42CD-9784-8AD96AFBD7B4}" type="presOf" srcId="{338B0C78-1D43-402F-8B96-34ADACE9061E}" destId="{E1781EF9-90DF-40DB-9307-D3665F2BD6D3}" srcOrd="0" destOrd="0" presId="urn:microsoft.com/office/officeart/2005/8/layout/vList2"/>
    <dgm:cxn modelId="{A4A9834A-5790-46D0-AD74-200750EC5EA0}" srcId="{8D66E303-1FC6-4037-92A4-F7CE7FF5528D}" destId="{FB3F1351-3AC9-4A3A-A8D9-00D1732F0EE1}" srcOrd="3" destOrd="0" parTransId="{9B3C3A6B-989B-4B58-A2D5-82C8589B94D0}" sibTransId="{D75AE1FB-B2FE-497F-AE46-A4914F3CC1BA}"/>
    <dgm:cxn modelId="{93848B72-1B85-468E-8498-A5067975B213}" srcId="{8D66E303-1FC6-4037-92A4-F7CE7FF5528D}" destId="{B993B3F0-2A81-4813-9DA3-254694B303A3}" srcOrd="1" destOrd="0" parTransId="{83F64991-0C6F-4E45-9947-7615CD97C766}" sibTransId="{584AF18E-769E-4244-8D0D-B49DD8BA3EC5}"/>
    <dgm:cxn modelId="{EFD8A89B-5A75-4353-B0DA-1991FEC62314}" srcId="{8D66E303-1FC6-4037-92A4-F7CE7FF5528D}" destId="{E8277049-1686-478F-9985-12297B72E8A6}" srcOrd="2" destOrd="0" parTransId="{65091F24-1317-47FF-8ED3-7269B5F7CDD0}" sibTransId="{A21FE979-3C8B-49BC-BBD0-BD606BAB97CC}"/>
    <dgm:cxn modelId="{59D58ACA-FC22-4F8C-8E87-A594EE20BA1F}" type="presOf" srcId="{8D66E303-1FC6-4037-92A4-F7CE7FF5528D}" destId="{24D3E531-66FB-4590-B8FC-C53D5891804D}" srcOrd="0" destOrd="0" presId="urn:microsoft.com/office/officeart/2005/8/layout/vList2"/>
    <dgm:cxn modelId="{BA3C84FF-8279-41DE-96B3-A0D3815E73EC}" type="presOf" srcId="{E8277049-1686-478F-9985-12297B72E8A6}" destId="{D302BF4F-7CF4-407D-9A89-F489FFB63C94}" srcOrd="0" destOrd="0" presId="urn:microsoft.com/office/officeart/2005/8/layout/vList2"/>
    <dgm:cxn modelId="{917B6C7D-99B7-4720-BEA9-F74D449EFDED}" type="presParOf" srcId="{24D3E531-66FB-4590-B8FC-C53D5891804D}" destId="{E1781EF9-90DF-40DB-9307-D3665F2BD6D3}" srcOrd="0" destOrd="0" presId="urn:microsoft.com/office/officeart/2005/8/layout/vList2"/>
    <dgm:cxn modelId="{3A7CAB18-04AA-4DF8-959B-8649D3C54BE7}" type="presParOf" srcId="{24D3E531-66FB-4590-B8FC-C53D5891804D}" destId="{E6A16E98-E2F7-4058-ADA4-D3044442B937}" srcOrd="1" destOrd="0" presId="urn:microsoft.com/office/officeart/2005/8/layout/vList2"/>
    <dgm:cxn modelId="{1D2707AB-0206-40D2-9387-6D4E75AC18A8}" type="presParOf" srcId="{24D3E531-66FB-4590-B8FC-C53D5891804D}" destId="{860095FD-F362-49A4-BC62-7C1A17D40A70}" srcOrd="2" destOrd="0" presId="urn:microsoft.com/office/officeart/2005/8/layout/vList2"/>
    <dgm:cxn modelId="{BF066B8D-F9CC-4AE0-A7D1-DBA5A697DCA1}" type="presParOf" srcId="{24D3E531-66FB-4590-B8FC-C53D5891804D}" destId="{8159EE20-7098-4489-8456-36E0FF2C5585}" srcOrd="3" destOrd="0" presId="urn:microsoft.com/office/officeart/2005/8/layout/vList2"/>
    <dgm:cxn modelId="{3281A5F4-F646-4CCB-AC37-D25860B9BEE6}" type="presParOf" srcId="{24D3E531-66FB-4590-B8FC-C53D5891804D}" destId="{D302BF4F-7CF4-407D-9A89-F489FFB63C94}" srcOrd="4" destOrd="0" presId="urn:microsoft.com/office/officeart/2005/8/layout/vList2"/>
    <dgm:cxn modelId="{987FDFA3-B9AF-4D41-9B3C-E67F103F9720}" type="presParOf" srcId="{24D3E531-66FB-4590-B8FC-C53D5891804D}" destId="{A63747D2-62DA-44BB-BC1F-712EE26E15A1}" srcOrd="5" destOrd="0" presId="urn:microsoft.com/office/officeart/2005/8/layout/vList2"/>
    <dgm:cxn modelId="{AC3671CC-269A-4B39-9BFE-B8454A4E9BE4}" type="presParOf" srcId="{24D3E531-66FB-4590-B8FC-C53D5891804D}" destId="{B8871C80-A4C7-49C5-8AE9-D84E0D0A7529}"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2D3A107-CDFC-45D6-A023-4E590907EDEB}" type="doc">
      <dgm:prSet loTypeId="urn:microsoft.com/office/officeart/2018/5/layout/CenteredIconLabelDescriptionList" loCatId="icon" qsTypeId="urn:microsoft.com/office/officeart/2005/8/quickstyle/simple1" qsCatId="simple" csTypeId="urn:microsoft.com/office/officeart/2005/8/colors/colorful3" csCatId="colorful" phldr="1"/>
      <dgm:spPr/>
      <dgm:t>
        <a:bodyPr/>
        <a:lstStyle/>
        <a:p>
          <a:endParaRPr lang="en-US"/>
        </a:p>
      </dgm:t>
    </dgm:pt>
    <dgm:pt modelId="{3AE2D097-6E3A-4BA6-831A-F476AECE3BD8}">
      <dgm:prSet custT="1"/>
      <dgm:spPr/>
      <dgm:t>
        <a:bodyPr/>
        <a:lstStyle/>
        <a:p>
          <a:pPr>
            <a:lnSpc>
              <a:spcPct val="100000"/>
            </a:lnSpc>
            <a:defRPr b="1"/>
          </a:pPr>
          <a:r>
            <a:rPr lang="en-US" sz="2400" baseline="0"/>
            <a:t>Client and Data on-premises</a:t>
          </a:r>
          <a:endParaRPr lang="en-US" sz="2400"/>
        </a:p>
      </dgm:t>
    </dgm:pt>
    <dgm:pt modelId="{4579802F-64F3-495D-89A8-37E621412085}" type="parTrans" cxnId="{0D0420EC-8CAA-4FA5-BBC5-BE9586363CFC}">
      <dgm:prSet/>
      <dgm:spPr/>
      <dgm:t>
        <a:bodyPr/>
        <a:lstStyle/>
        <a:p>
          <a:endParaRPr lang="en-US"/>
        </a:p>
      </dgm:t>
    </dgm:pt>
    <dgm:pt modelId="{091A6B3F-E716-4DBA-A892-FF93E137A792}" type="sibTrans" cxnId="{0D0420EC-8CAA-4FA5-BBC5-BE9586363CFC}">
      <dgm:prSet/>
      <dgm:spPr/>
      <dgm:t>
        <a:bodyPr/>
        <a:lstStyle/>
        <a:p>
          <a:endParaRPr lang="en-US"/>
        </a:p>
      </dgm:t>
    </dgm:pt>
    <dgm:pt modelId="{CAFFD010-66E9-45FF-8322-B1FDAF182B78}">
      <dgm:prSet custT="1"/>
      <dgm:spPr/>
      <dgm:t>
        <a:bodyPr/>
        <a:lstStyle/>
        <a:p>
          <a:pPr>
            <a:lnSpc>
              <a:spcPct val="100000"/>
            </a:lnSpc>
          </a:pPr>
          <a:r>
            <a:rPr lang="en-US" sz="2000" baseline="0"/>
            <a:t>Customer has client application and SQL Server, both running on-premises at business location</a:t>
          </a:r>
          <a:endParaRPr lang="en-US" sz="2000"/>
        </a:p>
      </dgm:t>
    </dgm:pt>
    <dgm:pt modelId="{92FB50BA-A4E5-44D8-8AE7-134C0883B58E}" type="parTrans" cxnId="{BC55F1A3-9DBB-478B-8BE5-829B3F1F1B54}">
      <dgm:prSet/>
      <dgm:spPr/>
      <dgm:t>
        <a:bodyPr/>
        <a:lstStyle/>
        <a:p>
          <a:endParaRPr lang="en-US"/>
        </a:p>
      </dgm:t>
    </dgm:pt>
    <dgm:pt modelId="{601315B4-7537-48BA-BE45-7BDE4D4A50C0}" type="sibTrans" cxnId="{BC55F1A3-9DBB-478B-8BE5-829B3F1F1B54}">
      <dgm:prSet/>
      <dgm:spPr/>
      <dgm:t>
        <a:bodyPr/>
        <a:lstStyle/>
        <a:p>
          <a:endParaRPr lang="en-US"/>
        </a:p>
      </dgm:t>
    </dgm:pt>
    <dgm:pt modelId="{87C2AACB-CC68-496D-B8C4-9DB19B9C1C24}">
      <dgm:prSet custT="1"/>
      <dgm:spPr/>
      <dgm:t>
        <a:bodyPr/>
        <a:lstStyle/>
        <a:p>
          <a:pPr>
            <a:lnSpc>
              <a:spcPct val="100000"/>
            </a:lnSpc>
            <a:defRPr b="1"/>
          </a:pPr>
          <a:r>
            <a:rPr lang="en-US" sz="2400" baseline="0"/>
            <a:t>Client on-premises with data in Azure</a:t>
          </a:r>
          <a:endParaRPr lang="en-US" sz="2400"/>
        </a:p>
      </dgm:t>
    </dgm:pt>
    <dgm:pt modelId="{768FDB48-2DBB-48A4-A0CC-3F5E08AC6973}" type="parTrans" cxnId="{F162B55C-7CCC-4718-99A9-A73B0C498413}">
      <dgm:prSet/>
      <dgm:spPr/>
      <dgm:t>
        <a:bodyPr/>
        <a:lstStyle/>
        <a:p>
          <a:endParaRPr lang="en-US"/>
        </a:p>
      </dgm:t>
    </dgm:pt>
    <dgm:pt modelId="{4CD41BEF-9A5D-4D38-9E3E-325ADA8B8805}" type="sibTrans" cxnId="{F162B55C-7CCC-4718-99A9-A73B0C498413}">
      <dgm:prSet/>
      <dgm:spPr/>
      <dgm:t>
        <a:bodyPr/>
        <a:lstStyle/>
        <a:p>
          <a:endParaRPr lang="en-US"/>
        </a:p>
      </dgm:t>
    </dgm:pt>
    <dgm:pt modelId="{F6D184CB-3E2E-4292-9C90-D358FDDFF027}">
      <dgm:prSet custT="1"/>
      <dgm:spPr/>
      <dgm:t>
        <a:bodyPr/>
        <a:lstStyle/>
        <a:p>
          <a:pPr>
            <a:lnSpc>
              <a:spcPct val="100000"/>
            </a:lnSpc>
          </a:pPr>
          <a:r>
            <a:rPr lang="en-US" sz="2000" baseline="0"/>
            <a:t>Automatic encryption and decryption of sensitive data</a:t>
          </a:r>
          <a:endParaRPr lang="en-US" sz="2000"/>
        </a:p>
      </dgm:t>
    </dgm:pt>
    <dgm:pt modelId="{AC224AC0-60DA-446D-A5E6-3F4F3EBE7142}" type="parTrans" cxnId="{4CC1AB3E-4503-48AB-8598-D070A0F8D949}">
      <dgm:prSet/>
      <dgm:spPr/>
      <dgm:t>
        <a:bodyPr/>
        <a:lstStyle/>
        <a:p>
          <a:endParaRPr lang="en-US"/>
        </a:p>
      </dgm:t>
    </dgm:pt>
    <dgm:pt modelId="{FA34B1C6-C049-4682-9D5B-9BBD5F3BEADA}" type="sibTrans" cxnId="{4CC1AB3E-4503-48AB-8598-D070A0F8D949}">
      <dgm:prSet/>
      <dgm:spPr/>
      <dgm:t>
        <a:bodyPr/>
        <a:lstStyle/>
        <a:p>
          <a:endParaRPr lang="en-US"/>
        </a:p>
      </dgm:t>
    </dgm:pt>
    <dgm:pt modelId="{6EBC355F-3B81-4461-923E-924A1A3377D8}">
      <dgm:prSet/>
      <dgm:spPr/>
      <dgm:t>
        <a:bodyPr/>
        <a:lstStyle/>
        <a:p>
          <a:pPr>
            <a:lnSpc>
              <a:spcPct val="100000"/>
            </a:lnSpc>
            <a:defRPr b="1"/>
          </a:pPr>
          <a:r>
            <a:rPr lang="en-US" baseline="0"/>
            <a:t>Client and Data in Azure</a:t>
          </a:r>
          <a:endParaRPr lang="en-US"/>
        </a:p>
      </dgm:t>
    </dgm:pt>
    <dgm:pt modelId="{CE24D005-C254-4042-A150-37DB4EE54072}" type="parTrans" cxnId="{AADD6372-635A-4153-9BC9-B76620C7CD86}">
      <dgm:prSet/>
      <dgm:spPr/>
      <dgm:t>
        <a:bodyPr/>
        <a:lstStyle/>
        <a:p>
          <a:endParaRPr lang="en-US"/>
        </a:p>
      </dgm:t>
    </dgm:pt>
    <dgm:pt modelId="{74B545BF-EA29-4429-8EA7-46B8A09A4EF1}" type="sibTrans" cxnId="{AADD6372-635A-4153-9BC9-B76620C7CD86}">
      <dgm:prSet/>
      <dgm:spPr/>
      <dgm:t>
        <a:bodyPr/>
        <a:lstStyle/>
        <a:p>
          <a:endParaRPr lang="en-US"/>
        </a:p>
      </dgm:t>
    </dgm:pt>
    <dgm:pt modelId="{3C8190B7-5292-4813-B81D-1B7583DD9550}">
      <dgm:prSet custT="1"/>
      <dgm:spPr/>
      <dgm:t>
        <a:bodyPr/>
        <a:lstStyle/>
        <a:p>
          <a:pPr>
            <a:lnSpc>
              <a:spcPct val="100000"/>
            </a:lnSpc>
          </a:pPr>
          <a:r>
            <a:rPr lang="en-US" sz="2000" baseline="0"/>
            <a:t>Customer has client application hosted in Azure, which operates on sensitive data also stored in Azure</a:t>
          </a:r>
          <a:endParaRPr lang="en-US" sz="2000"/>
        </a:p>
      </dgm:t>
    </dgm:pt>
    <dgm:pt modelId="{3B5822CC-DFF2-4345-B5E7-8995FD0EEC18}" type="parTrans" cxnId="{24BB75DA-6B6F-45BC-AA0F-E6C6AB0F82E9}">
      <dgm:prSet/>
      <dgm:spPr/>
      <dgm:t>
        <a:bodyPr/>
        <a:lstStyle/>
        <a:p>
          <a:endParaRPr lang="en-US"/>
        </a:p>
      </dgm:t>
    </dgm:pt>
    <dgm:pt modelId="{EAA826FD-2630-46A5-BEC5-4EBA5F0987FF}" type="sibTrans" cxnId="{24BB75DA-6B6F-45BC-AA0F-E6C6AB0F82E9}">
      <dgm:prSet/>
      <dgm:spPr/>
      <dgm:t>
        <a:bodyPr/>
        <a:lstStyle/>
        <a:p>
          <a:endParaRPr lang="en-US"/>
        </a:p>
      </dgm:t>
    </dgm:pt>
    <dgm:pt modelId="{C2CD2B8C-E34B-4E7E-9D9E-E39AE1E20A48}" type="pres">
      <dgm:prSet presAssocID="{92D3A107-CDFC-45D6-A023-4E590907EDEB}" presName="root" presStyleCnt="0">
        <dgm:presLayoutVars>
          <dgm:dir/>
          <dgm:resizeHandles val="exact"/>
        </dgm:presLayoutVars>
      </dgm:prSet>
      <dgm:spPr/>
    </dgm:pt>
    <dgm:pt modelId="{ECB013BF-6505-4A63-8EFE-C5E248D9AF12}" type="pres">
      <dgm:prSet presAssocID="{3AE2D097-6E3A-4BA6-831A-F476AECE3BD8}" presName="compNode" presStyleCnt="0"/>
      <dgm:spPr/>
    </dgm:pt>
    <dgm:pt modelId="{A2CE9F4D-A008-4902-9D95-ABF2A4D2E881}" type="pres">
      <dgm:prSet presAssocID="{3AE2D097-6E3A-4BA6-831A-F476AECE3BD8}"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pt>
    <dgm:pt modelId="{780826BE-7CB1-4FE1-9B74-7A59B45337F6}" type="pres">
      <dgm:prSet presAssocID="{3AE2D097-6E3A-4BA6-831A-F476AECE3BD8}" presName="iconSpace" presStyleCnt="0"/>
      <dgm:spPr/>
    </dgm:pt>
    <dgm:pt modelId="{2DD9CF86-5B0F-4171-9597-F2D4F2499B20}" type="pres">
      <dgm:prSet presAssocID="{3AE2D097-6E3A-4BA6-831A-F476AECE3BD8}" presName="parTx" presStyleLbl="revTx" presStyleIdx="0" presStyleCnt="6">
        <dgm:presLayoutVars>
          <dgm:chMax val="0"/>
          <dgm:chPref val="0"/>
        </dgm:presLayoutVars>
      </dgm:prSet>
      <dgm:spPr/>
    </dgm:pt>
    <dgm:pt modelId="{31FB876F-A39E-4238-A761-EC90CEFE28F6}" type="pres">
      <dgm:prSet presAssocID="{3AE2D097-6E3A-4BA6-831A-F476AECE3BD8}" presName="txSpace" presStyleCnt="0"/>
      <dgm:spPr/>
    </dgm:pt>
    <dgm:pt modelId="{CEBF04F7-86D0-46C9-978D-4F7B60A175B5}" type="pres">
      <dgm:prSet presAssocID="{3AE2D097-6E3A-4BA6-831A-F476AECE3BD8}" presName="desTx" presStyleLbl="revTx" presStyleIdx="1" presStyleCnt="6">
        <dgm:presLayoutVars/>
      </dgm:prSet>
      <dgm:spPr/>
    </dgm:pt>
    <dgm:pt modelId="{BE905C35-4A74-48EE-AA85-EA0B5746F2EE}" type="pres">
      <dgm:prSet presAssocID="{091A6B3F-E716-4DBA-A892-FF93E137A792}" presName="sibTrans" presStyleCnt="0"/>
      <dgm:spPr/>
    </dgm:pt>
    <dgm:pt modelId="{DF0EFDA3-5594-4E3D-868B-F6A3FB8C5BE1}" type="pres">
      <dgm:prSet presAssocID="{87C2AACB-CC68-496D-B8C4-9DB19B9C1C24}" presName="compNode" presStyleCnt="0"/>
      <dgm:spPr/>
    </dgm:pt>
    <dgm:pt modelId="{A78AE2C6-D93B-4C9C-B5CF-7D16C16C13CD}" type="pres">
      <dgm:prSet presAssocID="{87C2AACB-CC68-496D-B8C4-9DB19B9C1C24}" presName="iconRect" presStyleLbl="node1" presStyleIdx="1" presStyleCnt="3" custLinFactX="139229" custLinFactNeighborX="200000" custLinFactNeighborY="891"/>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Upload"/>
        </a:ext>
      </dgm:extLst>
    </dgm:pt>
    <dgm:pt modelId="{715DBE94-F733-4331-9CF5-F7A4C020BE2F}" type="pres">
      <dgm:prSet presAssocID="{87C2AACB-CC68-496D-B8C4-9DB19B9C1C24}" presName="iconSpace" presStyleCnt="0"/>
      <dgm:spPr/>
    </dgm:pt>
    <dgm:pt modelId="{3C0D664A-9237-437A-AEC0-5FDD11EBA76A}" type="pres">
      <dgm:prSet presAssocID="{87C2AACB-CC68-496D-B8C4-9DB19B9C1C24}" presName="parTx" presStyleLbl="revTx" presStyleIdx="2" presStyleCnt="6">
        <dgm:presLayoutVars>
          <dgm:chMax val="0"/>
          <dgm:chPref val="0"/>
        </dgm:presLayoutVars>
      </dgm:prSet>
      <dgm:spPr/>
    </dgm:pt>
    <dgm:pt modelId="{1FA2A329-0388-4166-BC28-B7DC81C8D50A}" type="pres">
      <dgm:prSet presAssocID="{87C2AACB-CC68-496D-B8C4-9DB19B9C1C24}" presName="txSpace" presStyleCnt="0"/>
      <dgm:spPr/>
    </dgm:pt>
    <dgm:pt modelId="{80F12ED7-B9EB-403D-B44F-2A76CB99520D}" type="pres">
      <dgm:prSet presAssocID="{87C2AACB-CC68-496D-B8C4-9DB19B9C1C24}" presName="desTx" presStyleLbl="revTx" presStyleIdx="3" presStyleCnt="6">
        <dgm:presLayoutVars/>
      </dgm:prSet>
      <dgm:spPr/>
    </dgm:pt>
    <dgm:pt modelId="{7853C7DD-C0AD-4938-9FB8-9F6F6F5A59D5}" type="pres">
      <dgm:prSet presAssocID="{4CD41BEF-9A5D-4D38-9E3E-325ADA8B8805}" presName="sibTrans" presStyleCnt="0"/>
      <dgm:spPr/>
    </dgm:pt>
    <dgm:pt modelId="{816586EE-EA92-4F2B-8D96-3176B8F645E9}" type="pres">
      <dgm:prSet presAssocID="{6EBC355F-3B81-4461-923E-924A1A3377D8}" presName="compNode" presStyleCnt="0"/>
      <dgm:spPr/>
    </dgm:pt>
    <dgm:pt modelId="{0BD516AE-ED49-49F1-B089-CBB654833AAA}" type="pres">
      <dgm:prSet presAssocID="{6EBC355F-3B81-4461-923E-924A1A3377D8}" presName="iconRect" presStyleLbl="node1" presStyleIdx="2" presStyleCnt="3" custLinFactX="-135714" custLinFactNeighborX="-200000" custLinFactNeighborY="891"/>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Cloud Computing"/>
        </a:ext>
      </dgm:extLst>
    </dgm:pt>
    <dgm:pt modelId="{0D6D0C88-7478-4587-BDB5-063631289CFF}" type="pres">
      <dgm:prSet presAssocID="{6EBC355F-3B81-4461-923E-924A1A3377D8}" presName="iconSpace" presStyleCnt="0"/>
      <dgm:spPr/>
    </dgm:pt>
    <dgm:pt modelId="{26B95474-192E-469D-AAF4-3E84FF422061}" type="pres">
      <dgm:prSet presAssocID="{6EBC355F-3B81-4461-923E-924A1A3377D8}" presName="parTx" presStyleLbl="revTx" presStyleIdx="4" presStyleCnt="6">
        <dgm:presLayoutVars>
          <dgm:chMax val="0"/>
          <dgm:chPref val="0"/>
        </dgm:presLayoutVars>
      </dgm:prSet>
      <dgm:spPr/>
    </dgm:pt>
    <dgm:pt modelId="{241DCFD6-6ED4-44E9-8618-6360D28DF686}" type="pres">
      <dgm:prSet presAssocID="{6EBC355F-3B81-4461-923E-924A1A3377D8}" presName="txSpace" presStyleCnt="0"/>
      <dgm:spPr/>
    </dgm:pt>
    <dgm:pt modelId="{428E232F-530D-4A41-9E15-4C655ADA5CE9}" type="pres">
      <dgm:prSet presAssocID="{6EBC355F-3B81-4461-923E-924A1A3377D8}" presName="desTx" presStyleLbl="revTx" presStyleIdx="5" presStyleCnt="6">
        <dgm:presLayoutVars/>
      </dgm:prSet>
      <dgm:spPr/>
    </dgm:pt>
  </dgm:ptLst>
  <dgm:cxnLst>
    <dgm:cxn modelId="{95DDDC07-8A51-4A8F-827C-7C1A4F38E817}" type="presOf" srcId="{F6D184CB-3E2E-4292-9C90-D358FDDFF027}" destId="{80F12ED7-B9EB-403D-B44F-2A76CB99520D}" srcOrd="0" destOrd="0" presId="urn:microsoft.com/office/officeart/2018/5/layout/CenteredIconLabelDescriptionList"/>
    <dgm:cxn modelId="{6E91050B-5782-448D-9473-ACAD4657A2E5}" type="presOf" srcId="{3AE2D097-6E3A-4BA6-831A-F476AECE3BD8}" destId="{2DD9CF86-5B0F-4171-9597-F2D4F2499B20}" srcOrd="0" destOrd="0" presId="urn:microsoft.com/office/officeart/2018/5/layout/CenteredIconLabelDescriptionList"/>
    <dgm:cxn modelId="{4CC1AB3E-4503-48AB-8598-D070A0F8D949}" srcId="{87C2AACB-CC68-496D-B8C4-9DB19B9C1C24}" destId="{F6D184CB-3E2E-4292-9C90-D358FDDFF027}" srcOrd="0" destOrd="0" parTransId="{AC224AC0-60DA-446D-A5E6-3F4F3EBE7142}" sibTransId="{FA34B1C6-C049-4682-9D5B-9BBD5F3BEADA}"/>
    <dgm:cxn modelId="{F162B55C-7CCC-4718-99A9-A73B0C498413}" srcId="{92D3A107-CDFC-45D6-A023-4E590907EDEB}" destId="{87C2AACB-CC68-496D-B8C4-9DB19B9C1C24}" srcOrd="1" destOrd="0" parTransId="{768FDB48-2DBB-48A4-A0CC-3F5E08AC6973}" sibTransId="{4CD41BEF-9A5D-4D38-9E3E-325ADA8B8805}"/>
    <dgm:cxn modelId="{2431AB41-2EC6-4C93-8094-E66B277A51A4}" type="presOf" srcId="{87C2AACB-CC68-496D-B8C4-9DB19B9C1C24}" destId="{3C0D664A-9237-437A-AEC0-5FDD11EBA76A}" srcOrd="0" destOrd="0" presId="urn:microsoft.com/office/officeart/2018/5/layout/CenteredIconLabelDescriptionList"/>
    <dgm:cxn modelId="{1AAC6645-44A7-4627-9FCD-7AA4A962DEA4}" type="presOf" srcId="{92D3A107-CDFC-45D6-A023-4E590907EDEB}" destId="{C2CD2B8C-E34B-4E7E-9D9E-E39AE1E20A48}" srcOrd="0" destOrd="0" presId="urn:microsoft.com/office/officeart/2018/5/layout/CenteredIconLabelDescriptionList"/>
    <dgm:cxn modelId="{72C74E4F-A2AF-4198-8D7F-7E79D9C837D0}" type="presOf" srcId="{6EBC355F-3B81-4461-923E-924A1A3377D8}" destId="{26B95474-192E-469D-AAF4-3E84FF422061}" srcOrd="0" destOrd="0" presId="urn:microsoft.com/office/officeart/2018/5/layout/CenteredIconLabelDescriptionList"/>
    <dgm:cxn modelId="{AADD6372-635A-4153-9BC9-B76620C7CD86}" srcId="{92D3A107-CDFC-45D6-A023-4E590907EDEB}" destId="{6EBC355F-3B81-4461-923E-924A1A3377D8}" srcOrd="2" destOrd="0" parTransId="{CE24D005-C254-4042-A150-37DB4EE54072}" sibTransId="{74B545BF-EA29-4429-8EA7-46B8A09A4EF1}"/>
    <dgm:cxn modelId="{BC55F1A3-9DBB-478B-8BE5-829B3F1F1B54}" srcId="{3AE2D097-6E3A-4BA6-831A-F476AECE3BD8}" destId="{CAFFD010-66E9-45FF-8322-B1FDAF182B78}" srcOrd="0" destOrd="0" parTransId="{92FB50BA-A4E5-44D8-8AE7-134C0883B58E}" sibTransId="{601315B4-7537-48BA-BE45-7BDE4D4A50C0}"/>
    <dgm:cxn modelId="{1CAD4CB1-0631-4B59-95FB-FF685C39761D}" type="presOf" srcId="{3C8190B7-5292-4813-B81D-1B7583DD9550}" destId="{428E232F-530D-4A41-9E15-4C655ADA5CE9}" srcOrd="0" destOrd="0" presId="urn:microsoft.com/office/officeart/2018/5/layout/CenteredIconLabelDescriptionList"/>
    <dgm:cxn modelId="{141721B8-A019-4E26-B845-7969DC0C62C5}" type="presOf" srcId="{CAFFD010-66E9-45FF-8322-B1FDAF182B78}" destId="{CEBF04F7-86D0-46C9-978D-4F7B60A175B5}" srcOrd="0" destOrd="0" presId="urn:microsoft.com/office/officeart/2018/5/layout/CenteredIconLabelDescriptionList"/>
    <dgm:cxn modelId="{24BB75DA-6B6F-45BC-AA0F-E6C6AB0F82E9}" srcId="{6EBC355F-3B81-4461-923E-924A1A3377D8}" destId="{3C8190B7-5292-4813-B81D-1B7583DD9550}" srcOrd="0" destOrd="0" parTransId="{3B5822CC-DFF2-4345-B5E7-8995FD0EEC18}" sibTransId="{EAA826FD-2630-46A5-BEC5-4EBA5F0987FF}"/>
    <dgm:cxn modelId="{0D0420EC-8CAA-4FA5-BBC5-BE9586363CFC}" srcId="{92D3A107-CDFC-45D6-A023-4E590907EDEB}" destId="{3AE2D097-6E3A-4BA6-831A-F476AECE3BD8}" srcOrd="0" destOrd="0" parTransId="{4579802F-64F3-495D-89A8-37E621412085}" sibTransId="{091A6B3F-E716-4DBA-A892-FF93E137A792}"/>
    <dgm:cxn modelId="{350759D8-09BD-4FFB-ACFE-A54BB0508D03}" type="presParOf" srcId="{C2CD2B8C-E34B-4E7E-9D9E-E39AE1E20A48}" destId="{ECB013BF-6505-4A63-8EFE-C5E248D9AF12}" srcOrd="0" destOrd="0" presId="urn:microsoft.com/office/officeart/2018/5/layout/CenteredIconLabelDescriptionList"/>
    <dgm:cxn modelId="{FDF9632D-309F-4F26-A1E0-FF0DBBC6C469}" type="presParOf" srcId="{ECB013BF-6505-4A63-8EFE-C5E248D9AF12}" destId="{A2CE9F4D-A008-4902-9D95-ABF2A4D2E881}" srcOrd="0" destOrd="0" presId="urn:microsoft.com/office/officeart/2018/5/layout/CenteredIconLabelDescriptionList"/>
    <dgm:cxn modelId="{15BA9C68-54D8-4258-A6F4-7302E5F4CCB8}" type="presParOf" srcId="{ECB013BF-6505-4A63-8EFE-C5E248D9AF12}" destId="{780826BE-7CB1-4FE1-9B74-7A59B45337F6}" srcOrd="1" destOrd="0" presId="urn:microsoft.com/office/officeart/2018/5/layout/CenteredIconLabelDescriptionList"/>
    <dgm:cxn modelId="{B4C1A2E0-5634-4218-A895-BBB4B1F23AB6}" type="presParOf" srcId="{ECB013BF-6505-4A63-8EFE-C5E248D9AF12}" destId="{2DD9CF86-5B0F-4171-9597-F2D4F2499B20}" srcOrd="2" destOrd="0" presId="urn:microsoft.com/office/officeart/2018/5/layout/CenteredIconLabelDescriptionList"/>
    <dgm:cxn modelId="{896248EA-BB84-4E4F-8B95-98708F7D022B}" type="presParOf" srcId="{ECB013BF-6505-4A63-8EFE-C5E248D9AF12}" destId="{31FB876F-A39E-4238-A761-EC90CEFE28F6}" srcOrd="3" destOrd="0" presId="urn:microsoft.com/office/officeart/2018/5/layout/CenteredIconLabelDescriptionList"/>
    <dgm:cxn modelId="{5F5B2A70-60FE-4737-9B55-780CA582338D}" type="presParOf" srcId="{ECB013BF-6505-4A63-8EFE-C5E248D9AF12}" destId="{CEBF04F7-86D0-46C9-978D-4F7B60A175B5}" srcOrd="4" destOrd="0" presId="urn:microsoft.com/office/officeart/2018/5/layout/CenteredIconLabelDescriptionList"/>
    <dgm:cxn modelId="{3BCF6EC4-4CD3-43F5-BD82-C88CAF59266E}" type="presParOf" srcId="{C2CD2B8C-E34B-4E7E-9D9E-E39AE1E20A48}" destId="{BE905C35-4A74-48EE-AA85-EA0B5746F2EE}" srcOrd="1" destOrd="0" presId="urn:microsoft.com/office/officeart/2018/5/layout/CenteredIconLabelDescriptionList"/>
    <dgm:cxn modelId="{9544B891-0535-4F99-8390-0E6234416E87}" type="presParOf" srcId="{C2CD2B8C-E34B-4E7E-9D9E-E39AE1E20A48}" destId="{DF0EFDA3-5594-4E3D-868B-F6A3FB8C5BE1}" srcOrd="2" destOrd="0" presId="urn:microsoft.com/office/officeart/2018/5/layout/CenteredIconLabelDescriptionList"/>
    <dgm:cxn modelId="{B84C1D60-F2FD-4311-93AB-277AE71B3C4D}" type="presParOf" srcId="{DF0EFDA3-5594-4E3D-868B-F6A3FB8C5BE1}" destId="{A78AE2C6-D93B-4C9C-B5CF-7D16C16C13CD}" srcOrd="0" destOrd="0" presId="urn:microsoft.com/office/officeart/2018/5/layout/CenteredIconLabelDescriptionList"/>
    <dgm:cxn modelId="{0AD5E210-4037-4118-8751-61A86E29A2ED}" type="presParOf" srcId="{DF0EFDA3-5594-4E3D-868B-F6A3FB8C5BE1}" destId="{715DBE94-F733-4331-9CF5-F7A4C020BE2F}" srcOrd="1" destOrd="0" presId="urn:microsoft.com/office/officeart/2018/5/layout/CenteredIconLabelDescriptionList"/>
    <dgm:cxn modelId="{8E3DA81D-BA39-4917-8B53-1180E50E57FC}" type="presParOf" srcId="{DF0EFDA3-5594-4E3D-868B-F6A3FB8C5BE1}" destId="{3C0D664A-9237-437A-AEC0-5FDD11EBA76A}" srcOrd="2" destOrd="0" presId="urn:microsoft.com/office/officeart/2018/5/layout/CenteredIconLabelDescriptionList"/>
    <dgm:cxn modelId="{A134EBD3-460C-454B-8EFC-FC3846E2151D}" type="presParOf" srcId="{DF0EFDA3-5594-4E3D-868B-F6A3FB8C5BE1}" destId="{1FA2A329-0388-4166-BC28-B7DC81C8D50A}" srcOrd="3" destOrd="0" presId="urn:microsoft.com/office/officeart/2018/5/layout/CenteredIconLabelDescriptionList"/>
    <dgm:cxn modelId="{EE2D8748-21AB-42FF-A84C-9A5DC9F391D4}" type="presParOf" srcId="{DF0EFDA3-5594-4E3D-868B-F6A3FB8C5BE1}" destId="{80F12ED7-B9EB-403D-B44F-2A76CB99520D}" srcOrd="4" destOrd="0" presId="urn:microsoft.com/office/officeart/2018/5/layout/CenteredIconLabelDescriptionList"/>
    <dgm:cxn modelId="{ED0768F5-B3C4-4F43-BBD9-25494612CDE3}" type="presParOf" srcId="{C2CD2B8C-E34B-4E7E-9D9E-E39AE1E20A48}" destId="{7853C7DD-C0AD-4938-9FB8-9F6F6F5A59D5}" srcOrd="3" destOrd="0" presId="urn:microsoft.com/office/officeart/2018/5/layout/CenteredIconLabelDescriptionList"/>
    <dgm:cxn modelId="{EFB3A5D9-B4AD-4B6E-B931-A06522DC80CD}" type="presParOf" srcId="{C2CD2B8C-E34B-4E7E-9D9E-E39AE1E20A48}" destId="{816586EE-EA92-4F2B-8D96-3176B8F645E9}" srcOrd="4" destOrd="0" presId="urn:microsoft.com/office/officeart/2018/5/layout/CenteredIconLabelDescriptionList"/>
    <dgm:cxn modelId="{1306A3A5-CB8D-4BA3-8C8F-C85A9AE1642A}" type="presParOf" srcId="{816586EE-EA92-4F2B-8D96-3176B8F645E9}" destId="{0BD516AE-ED49-49F1-B089-CBB654833AAA}" srcOrd="0" destOrd="0" presId="urn:microsoft.com/office/officeart/2018/5/layout/CenteredIconLabelDescriptionList"/>
    <dgm:cxn modelId="{068A4642-8D7B-4735-A0CB-145A6FFD8EF6}" type="presParOf" srcId="{816586EE-EA92-4F2B-8D96-3176B8F645E9}" destId="{0D6D0C88-7478-4587-BDB5-063631289CFF}" srcOrd="1" destOrd="0" presId="urn:microsoft.com/office/officeart/2018/5/layout/CenteredIconLabelDescriptionList"/>
    <dgm:cxn modelId="{93E537C8-5AD7-48A3-BD1E-189E8D6C9C8E}" type="presParOf" srcId="{816586EE-EA92-4F2B-8D96-3176B8F645E9}" destId="{26B95474-192E-469D-AAF4-3E84FF422061}" srcOrd="2" destOrd="0" presId="urn:microsoft.com/office/officeart/2018/5/layout/CenteredIconLabelDescriptionList"/>
    <dgm:cxn modelId="{8484EF28-47E4-4DD7-A3EE-4B7B6B6DB90B}" type="presParOf" srcId="{816586EE-EA92-4F2B-8D96-3176B8F645E9}" destId="{241DCFD6-6ED4-44E9-8618-6360D28DF686}" srcOrd="3" destOrd="0" presId="urn:microsoft.com/office/officeart/2018/5/layout/CenteredIconLabelDescriptionList"/>
    <dgm:cxn modelId="{89D9FB97-420B-4476-B868-B5BCFFC32403}" type="presParOf" srcId="{816586EE-EA92-4F2B-8D96-3176B8F645E9}" destId="{428E232F-530D-4A41-9E15-4C655ADA5CE9}" srcOrd="4" destOrd="0" presId="urn:microsoft.com/office/officeart/2018/5/layout/Centered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5024E98-7A02-4E25-886F-1E191E3260E5}" type="doc">
      <dgm:prSet loTypeId="urn:microsoft.com/office/officeart/2005/8/layout/hList1" loCatId="list" qsTypeId="urn:microsoft.com/office/officeart/2005/8/quickstyle/simple1" qsCatId="simple" csTypeId="urn:microsoft.com/office/officeart/2005/8/colors/colorful3" csCatId="colorful"/>
      <dgm:spPr/>
      <dgm:t>
        <a:bodyPr/>
        <a:lstStyle/>
        <a:p>
          <a:endParaRPr lang="en-US"/>
        </a:p>
      </dgm:t>
    </dgm:pt>
    <dgm:pt modelId="{5E84A0FC-D6BB-4CB3-BFF1-C6F206FE189E}">
      <dgm:prSet custT="1"/>
      <dgm:spPr/>
      <dgm:t>
        <a:bodyPr/>
        <a:lstStyle/>
        <a:p>
          <a:r>
            <a:rPr lang="en-US" sz="2400" baseline="0" dirty="0"/>
            <a:t>Prevention of data disclosure</a:t>
          </a:r>
          <a:endParaRPr lang="en-US" sz="2400" dirty="0"/>
        </a:p>
      </dgm:t>
    </dgm:pt>
    <dgm:pt modelId="{4C01BB6F-A415-48A3-84FC-14609BCC2D0E}" type="parTrans" cxnId="{FC6E7D61-D88B-4D39-9E17-272D841B7DAA}">
      <dgm:prSet/>
      <dgm:spPr/>
      <dgm:t>
        <a:bodyPr/>
        <a:lstStyle/>
        <a:p>
          <a:endParaRPr lang="en-US"/>
        </a:p>
      </dgm:t>
    </dgm:pt>
    <dgm:pt modelId="{652E4F17-6B88-494D-A9BB-757089D162BC}" type="sibTrans" cxnId="{FC6E7D61-D88B-4D39-9E17-272D841B7DAA}">
      <dgm:prSet/>
      <dgm:spPr/>
      <dgm:t>
        <a:bodyPr/>
        <a:lstStyle/>
        <a:p>
          <a:endParaRPr lang="en-US"/>
        </a:p>
      </dgm:t>
    </dgm:pt>
    <dgm:pt modelId="{25F092F1-05F5-4866-8477-4CD942F4E780}">
      <dgm:prSet/>
      <dgm:spPr/>
      <dgm:t>
        <a:bodyPr/>
        <a:lstStyle/>
        <a:p>
          <a:r>
            <a:rPr lang="en-US" baseline="0"/>
            <a:t>Client-side encryption of sensitive data using keys that are never given to database system.</a:t>
          </a:r>
          <a:endParaRPr lang="en-US"/>
        </a:p>
      </dgm:t>
    </dgm:pt>
    <dgm:pt modelId="{77623E62-804E-428E-95F1-AB663DB00F72}" type="parTrans" cxnId="{BD381A9A-A6B1-4EF2-8C1F-5E1378D72A8C}">
      <dgm:prSet/>
      <dgm:spPr/>
      <dgm:t>
        <a:bodyPr/>
        <a:lstStyle/>
        <a:p>
          <a:endParaRPr lang="en-US"/>
        </a:p>
      </dgm:t>
    </dgm:pt>
    <dgm:pt modelId="{A07FA23B-DDBB-4725-AEF4-BEFA5808C9F6}" type="sibTrans" cxnId="{BD381A9A-A6B1-4EF2-8C1F-5E1378D72A8C}">
      <dgm:prSet/>
      <dgm:spPr/>
      <dgm:t>
        <a:bodyPr/>
        <a:lstStyle/>
        <a:p>
          <a:endParaRPr lang="en-US"/>
        </a:p>
      </dgm:t>
    </dgm:pt>
    <dgm:pt modelId="{9563E3E1-EE9D-40CA-A1E3-CA6CA037FFAA}">
      <dgm:prSet custT="1"/>
      <dgm:spPr/>
      <dgm:t>
        <a:bodyPr/>
        <a:lstStyle/>
        <a:p>
          <a:r>
            <a:rPr lang="en-US" sz="2400" baseline="0"/>
            <a:t>Queries on encrypted data</a:t>
          </a:r>
          <a:endParaRPr lang="en-US" sz="2400"/>
        </a:p>
      </dgm:t>
    </dgm:pt>
    <dgm:pt modelId="{4B0A56E1-F0F3-4A6B-9EB1-CE559377AC0D}" type="parTrans" cxnId="{18A3D18E-D0CD-4F7B-82B2-B28ED7B5B532}">
      <dgm:prSet/>
      <dgm:spPr/>
      <dgm:t>
        <a:bodyPr/>
        <a:lstStyle/>
        <a:p>
          <a:endParaRPr lang="en-US"/>
        </a:p>
      </dgm:t>
    </dgm:pt>
    <dgm:pt modelId="{36A3BFC5-2EE6-4AD9-B01D-12FE7FA77F12}" type="sibTrans" cxnId="{18A3D18E-D0CD-4F7B-82B2-B28ED7B5B532}">
      <dgm:prSet/>
      <dgm:spPr/>
      <dgm:t>
        <a:bodyPr/>
        <a:lstStyle/>
        <a:p>
          <a:endParaRPr lang="en-US"/>
        </a:p>
      </dgm:t>
    </dgm:pt>
    <dgm:pt modelId="{58E7747E-D70C-4E29-A5A8-1995ACA5FEE8}">
      <dgm:prSet/>
      <dgm:spPr/>
      <dgm:t>
        <a:bodyPr/>
        <a:lstStyle/>
        <a:p>
          <a:r>
            <a:rPr lang="en-US" baseline="0"/>
            <a:t>Support for equality comparison, including join, group by, and distinct operators</a:t>
          </a:r>
          <a:endParaRPr lang="en-US"/>
        </a:p>
      </dgm:t>
    </dgm:pt>
    <dgm:pt modelId="{34B8299A-2018-4676-B51D-B1C4E0B7AE7B}" type="parTrans" cxnId="{7C8F1617-2973-420D-8474-79363212F79C}">
      <dgm:prSet/>
      <dgm:spPr/>
      <dgm:t>
        <a:bodyPr/>
        <a:lstStyle/>
        <a:p>
          <a:endParaRPr lang="en-US"/>
        </a:p>
      </dgm:t>
    </dgm:pt>
    <dgm:pt modelId="{57F38570-C82A-498B-8458-D9E77BF3D0AA}" type="sibTrans" cxnId="{7C8F1617-2973-420D-8474-79363212F79C}">
      <dgm:prSet/>
      <dgm:spPr/>
      <dgm:t>
        <a:bodyPr/>
        <a:lstStyle/>
        <a:p>
          <a:endParaRPr lang="en-US"/>
        </a:p>
      </dgm:t>
    </dgm:pt>
    <dgm:pt modelId="{17BE5C04-1951-4B70-9B7B-15E82FF2D842}">
      <dgm:prSet custT="1"/>
      <dgm:spPr/>
      <dgm:t>
        <a:bodyPr/>
        <a:lstStyle/>
        <a:p>
          <a:r>
            <a:rPr lang="en-US" sz="2400" baseline="0"/>
            <a:t>Application transparency</a:t>
          </a:r>
          <a:endParaRPr lang="en-US" sz="2400"/>
        </a:p>
      </dgm:t>
    </dgm:pt>
    <dgm:pt modelId="{08A1C3C5-4A14-4884-B0B6-8AC9A2A0DC75}" type="parTrans" cxnId="{99BFFC83-0829-4452-8B8E-88360E9522AF}">
      <dgm:prSet/>
      <dgm:spPr/>
      <dgm:t>
        <a:bodyPr/>
        <a:lstStyle/>
        <a:p>
          <a:endParaRPr lang="en-US"/>
        </a:p>
      </dgm:t>
    </dgm:pt>
    <dgm:pt modelId="{34491A9D-EAAE-4CFD-BB0E-2D185043F2B7}" type="sibTrans" cxnId="{99BFFC83-0829-4452-8B8E-88360E9522AF}">
      <dgm:prSet/>
      <dgm:spPr/>
      <dgm:t>
        <a:bodyPr/>
        <a:lstStyle/>
        <a:p>
          <a:endParaRPr lang="en-US"/>
        </a:p>
      </dgm:t>
    </dgm:pt>
    <dgm:pt modelId="{66204260-F8D9-4A32-A6B8-E94997BCD229}">
      <dgm:prSet/>
      <dgm:spPr/>
      <dgm:t>
        <a:bodyPr/>
        <a:lstStyle/>
        <a:p>
          <a:r>
            <a:rPr lang="en-US" baseline="0"/>
            <a:t>Minimal application changes through server and client library enhancements</a:t>
          </a:r>
          <a:endParaRPr lang="en-US"/>
        </a:p>
      </dgm:t>
    </dgm:pt>
    <dgm:pt modelId="{781F97C7-2BC4-4E73-9A7D-95683503B73E}" type="parTrans" cxnId="{48BCEFCA-AB85-443F-A5AA-BEDAF135AA63}">
      <dgm:prSet/>
      <dgm:spPr/>
      <dgm:t>
        <a:bodyPr/>
        <a:lstStyle/>
        <a:p>
          <a:endParaRPr lang="en-US"/>
        </a:p>
      </dgm:t>
    </dgm:pt>
    <dgm:pt modelId="{713CA77E-0778-4267-BC38-B953A1402A50}" type="sibTrans" cxnId="{48BCEFCA-AB85-443F-A5AA-BEDAF135AA63}">
      <dgm:prSet/>
      <dgm:spPr/>
      <dgm:t>
        <a:bodyPr/>
        <a:lstStyle/>
        <a:p>
          <a:endParaRPr lang="en-US"/>
        </a:p>
      </dgm:t>
    </dgm:pt>
    <dgm:pt modelId="{BEDD8A68-99CC-4DC6-A9C8-B23ECFE28A63}" type="pres">
      <dgm:prSet presAssocID="{C5024E98-7A02-4E25-886F-1E191E3260E5}" presName="Name0" presStyleCnt="0">
        <dgm:presLayoutVars>
          <dgm:dir/>
          <dgm:animLvl val="lvl"/>
          <dgm:resizeHandles val="exact"/>
        </dgm:presLayoutVars>
      </dgm:prSet>
      <dgm:spPr/>
    </dgm:pt>
    <dgm:pt modelId="{BEF5DEB4-EE89-4775-B8EA-69A54678C8E0}" type="pres">
      <dgm:prSet presAssocID="{5E84A0FC-D6BB-4CB3-BFF1-C6F206FE189E}" presName="composite" presStyleCnt="0"/>
      <dgm:spPr/>
    </dgm:pt>
    <dgm:pt modelId="{BF4D75BD-9FDC-4141-B46A-97441BCDF33A}" type="pres">
      <dgm:prSet presAssocID="{5E84A0FC-D6BB-4CB3-BFF1-C6F206FE189E}" presName="parTx" presStyleLbl="alignNode1" presStyleIdx="0" presStyleCnt="3">
        <dgm:presLayoutVars>
          <dgm:chMax val="0"/>
          <dgm:chPref val="0"/>
          <dgm:bulletEnabled val="1"/>
        </dgm:presLayoutVars>
      </dgm:prSet>
      <dgm:spPr/>
    </dgm:pt>
    <dgm:pt modelId="{5AF482D2-30D0-4D64-8CC6-F7BE63D57259}" type="pres">
      <dgm:prSet presAssocID="{5E84A0FC-D6BB-4CB3-BFF1-C6F206FE189E}" presName="desTx" presStyleLbl="alignAccFollowNode1" presStyleIdx="0" presStyleCnt="3">
        <dgm:presLayoutVars>
          <dgm:bulletEnabled val="1"/>
        </dgm:presLayoutVars>
      </dgm:prSet>
      <dgm:spPr/>
    </dgm:pt>
    <dgm:pt modelId="{3ED5009B-28C9-4685-829D-5DF525B08659}" type="pres">
      <dgm:prSet presAssocID="{652E4F17-6B88-494D-A9BB-757089D162BC}" presName="space" presStyleCnt="0"/>
      <dgm:spPr/>
    </dgm:pt>
    <dgm:pt modelId="{000696DD-9156-483B-8C2B-DFB8A3B4BCA4}" type="pres">
      <dgm:prSet presAssocID="{9563E3E1-EE9D-40CA-A1E3-CA6CA037FFAA}" presName="composite" presStyleCnt="0"/>
      <dgm:spPr/>
    </dgm:pt>
    <dgm:pt modelId="{C569CFEB-6885-4864-93AB-40D0E93963A0}" type="pres">
      <dgm:prSet presAssocID="{9563E3E1-EE9D-40CA-A1E3-CA6CA037FFAA}" presName="parTx" presStyleLbl="alignNode1" presStyleIdx="1" presStyleCnt="3">
        <dgm:presLayoutVars>
          <dgm:chMax val="0"/>
          <dgm:chPref val="0"/>
          <dgm:bulletEnabled val="1"/>
        </dgm:presLayoutVars>
      </dgm:prSet>
      <dgm:spPr/>
    </dgm:pt>
    <dgm:pt modelId="{13484473-4851-48EC-8924-9E35DFFD0971}" type="pres">
      <dgm:prSet presAssocID="{9563E3E1-EE9D-40CA-A1E3-CA6CA037FFAA}" presName="desTx" presStyleLbl="alignAccFollowNode1" presStyleIdx="1" presStyleCnt="3">
        <dgm:presLayoutVars>
          <dgm:bulletEnabled val="1"/>
        </dgm:presLayoutVars>
      </dgm:prSet>
      <dgm:spPr/>
    </dgm:pt>
    <dgm:pt modelId="{CDF60163-D935-4768-A034-1B0FAA61F0CC}" type="pres">
      <dgm:prSet presAssocID="{36A3BFC5-2EE6-4AD9-B01D-12FE7FA77F12}" presName="space" presStyleCnt="0"/>
      <dgm:spPr/>
    </dgm:pt>
    <dgm:pt modelId="{71D732E0-2F86-4BD5-A2DB-1481AF683939}" type="pres">
      <dgm:prSet presAssocID="{17BE5C04-1951-4B70-9B7B-15E82FF2D842}" presName="composite" presStyleCnt="0"/>
      <dgm:spPr/>
    </dgm:pt>
    <dgm:pt modelId="{D3A10147-43BF-4A76-973D-FA579AC4A8A2}" type="pres">
      <dgm:prSet presAssocID="{17BE5C04-1951-4B70-9B7B-15E82FF2D842}" presName="parTx" presStyleLbl="alignNode1" presStyleIdx="2" presStyleCnt="3">
        <dgm:presLayoutVars>
          <dgm:chMax val="0"/>
          <dgm:chPref val="0"/>
          <dgm:bulletEnabled val="1"/>
        </dgm:presLayoutVars>
      </dgm:prSet>
      <dgm:spPr/>
    </dgm:pt>
    <dgm:pt modelId="{8D90133C-4272-4135-9F73-1E67A4155A33}" type="pres">
      <dgm:prSet presAssocID="{17BE5C04-1951-4B70-9B7B-15E82FF2D842}" presName="desTx" presStyleLbl="alignAccFollowNode1" presStyleIdx="2" presStyleCnt="3">
        <dgm:presLayoutVars>
          <dgm:bulletEnabled val="1"/>
        </dgm:presLayoutVars>
      </dgm:prSet>
      <dgm:spPr/>
    </dgm:pt>
  </dgm:ptLst>
  <dgm:cxnLst>
    <dgm:cxn modelId="{7C8F1617-2973-420D-8474-79363212F79C}" srcId="{9563E3E1-EE9D-40CA-A1E3-CA6CA037FFAA}" destId="{58E7747E-D70C-4E29-A5A8-1995ACA5FEE8}" srcOrd="0" destOrd="0" parTransId="{34B8299A-2018-4676-B51D-B1C4E0B7AE7B}" sibTransId="{57F38570-C82A-498B-8458-D9E77BF3D0AA}"/>
    <dgm:cxn modelId="{FC6E7D61-D88B-4D39-9E17-272D841B7DAA}" srcId="{C5024E98-7A02-4E25-886F-1E191E3260E5}" destId="{5E84A0FC-D6BB-4CB3-BFF1-C6F206FE189E}" srcOrd="0" destOrd="0" parTransId="{4C01BB6F-A415-48A3-84FC-14609BCC2D0E}" sibTransId="{652E4F17-6B88-494D-A9BB-757089D162BC}"/>
    <dgm:cxn modelId="{3C28AA44-3E0F-440B-A3CF-AD01CC99CE9A}" type="presOf" srcId="{17BE5C04-1951-4B70-9B7B-15E82FF2D842}" destId="{D3A10147-43BF-4A76-973D-FA579AC4A8A2}" srcOrd="0" destOrd="0" presId="urn:microsoft.com/office/officeart/2005/8/layout/hList1"/>
    <dgm:cxn modelId="{27AC0165-55D4-4F3C-9E76-E64BBAB58D1B}" type="presOf" srcId="{58E7747E-D70C-4E29-A5A8-1995ACA5FEE8}" destId="{13484473-4851-48EC-8924-9E35DFFD0971}" srcOrd="0" destOrd="0" presId="urn:microsoft.com/office/officeart/2005/8/layout/hList1"/>
    <dgm:cxn modelId="{88402059-1EDD-428F-9188-4E20CA2D593A}" type="presOf" srcId="{9563E3E1-EE9D-40CA-A1E3-CA6CA037FFAA}" destId="{C569CFEB-6885-4864-93AB-40D0E93963A0}" srcOrd="0" destOrd="0" presId="urn:microsoft.com/office/officeart/2005/8/layout/hList1"/>
    <dgm:cxn modelId="{99BFFC83-0829-4452-8B8E-88360E9522AF}" srcId="{C5024E98-7A02-4E25-886F-1E191E3260E5}" destId="{17BE5C04-1951-4B70-9B7B-15E82FF2D842}" srcOrd="2" destOrd="0" parTransId="{08A1C3C5-4A14-4884-B0B6-8AC9A2A0DC75}" sibTransId="{34491A9D-EAAE-4CFD-BB0E-2D185043F2B7}"/>
    <dgm:cxn modelId="{18A3D18E-D0CD-4F7B-82B2-B28ED7B5B532}" srcId="{C5024E98-7A02-4E25-886F-1E191E3260E5}" destId="{9563E3E1-EE9D-40CA-A1E3-CA6CA037FFAA}" srcOrd="1" destOrd="0" parTransId="{4B0A56E1-F0F3-4A6B-9EB1-CE559377AC0D}" sibTransId="{36A3BFC5-2EE6-4AD9-B01D-12FE7FA77F12}"/>
    <dgm:cxn modelId="{BD381A9A-A6B1-4EF2-8C1F-5E1378D72A8C}" srcId="{5E84A0FC-D6BB-4CB3-BFF1-C6F206FE189E}" destId="{25F092F1-05F5-4866-8477-4CD942F4E780}" srcOrd="0" destOrd="0" parTransId="{77623E62-804E-428E-95F1-AB663DB00F72}" sibTransId="{A07FA23B-DDBB-4725-AEF4-BEFA5808C9F6}"/>
    <dgm:cxn modelId="{77D66DA5-B5D3-42B9-A242-44EEEA62DCB5}" type="presOf" srcId="{5E84A0FC-D6BB-4CB3-BFF1-C6F206FE189E}" destId="{BF4D75BD-9FDC-4141-B46A-97441BCDF33A}" srcOrd="0" destOrd="0" presId="urn:microsoft.com/office/officeart/2005/8/layout/hList1"/>
    <dgm:cxn modelId="{8CD00FB4-0DCC-4297-9210-21FA36D0F98D}" type="presOf" srcId="{C5024E98-7A02-4E25-886F-1E191E3260E5}" destId="{BEDD8A68-99CC-4DC6-A9C8-B23ECFE28A63}" srcOrd="0" destOrd="0" presId="urn:microsoft.com/office/officeart/2005/8/layout/hList1"/>
    <dgm:cxn modelId="{48BCEFCA-AB85-443F-A5AA-BEDAF135AA63}" srcId="{17BE5C04-1951-4B70-9B7B-15E82FF2D842}" destId="{66204260-F8D9-4A32-A6B8-E94997BCD229}" srcOrd="0" destOrd="0" parTransId="{781F97C7-2BC4-4E73-9A7D-95683503B73E}" sibTransId="{713CA77E-0778-4267-BC38-B953A1402A50}"/>
    <dgm:cxn modelId="{5EAA22EB-CC7F-45F8-A969-94639345FB6D}" type="presOf" srcId="{66204260-F8D9-4A32-A6B8-E94997BCD229}" destId="{8D90133C-4272-4135-9F73-1E67A4155A33}" srcOrd="0" destOrd="0" presId="urn:microsoft.com/office/officeart/2005/8/layout/hList1"/>
    <dgm:cxn modelId="{1754DEF8-010F-4545-ABFA-1D27B879C256}" type="presOf" srcId="{25F092F1-05F5-4866-8477-4CD942F4E780}" destId="{5AF482D2-30D0-4D64-8CC6-F7BE63D57259}" srcOrd="0" destOrd="0" presId="urn:microsoft.com/office/officeart/2005/8/layout/hList1"/>
    <dgm:cxn modelId="{D0EC0DFE-2545-487F-8737-9FB16F5AF0F4}" type="presParOf" srcId="{BEDD8A68-99CC-4DC6-A9C8-B23ECFE28A63}" destId="{BEF5DEB4-EE89-4775-B8EA-69A54678C8E0}" srcOrd="0" destOrd="0" presId="urn:microsoft.com/office/officeart/2005/8/layout/hList1"/>
    <dgm:cxn modelId="{72B85150-4401-4142-BAE5-4A1FE1F35EAE}" type="presParOf" srcId="{BEF5DEB4-EE89-4775-B8EA-69A54678C8E0}" destId="{BF4D75BD-9FDC-4141-B46A-97441BCDF33A}" srcOrd="0" destOrd="0" presId="urn:microsoft.com/office/officeart/2005/8/layout/hList1"/>
    <dgm:cxn modelId="{2D261D2B-F005-4A30-8A42-D86AD7E8239D}" type="presParOf" srcId="{BEF5DEB4-EE89-4775-B8EA-69A54678C8E0}" destId="{5AF482D2-30D0-4D64-8CC6-F7BE63D57259}" srcOrd="1" destOrd="0" presId="urn:microsoft.com/office/officeart/2005/8/layout/hList1"/>
    <dgm:cxn modelId="{18D0E928-F09A-4A00-9474-4F8C22444724}" type="presParOf" srcId="{BEDD8A68-99CC-4DC6-A9C8-B23ECFE28A63}" destId="{3ED5009B-28C9-4685-829D-5DF525B08659}" srcOrd="1" destOrd="0" presId="urn:microsoft.com/office/officeart/2005/8/layout/hList1"/>
    <dgm:cxn modelId="{E7A20D69-569D-449B-8108-5D80C307D830}" type="presParOf" srcId="{BEDD8A68-99CC-4DC6-A9C8-B23ECFE28A63}" destId="{000696DD-9156-483B-8C2B-DFB8A3B4BCA4}" srcOrd="2" destOrd="0" presId="urn:microsoft.com/office/officeart/2005/8/layout/hList1"/>
    <dgm:cxn modelId="{3584DBE9-8186-4970-8CBD-012CAA9A8AA8}" type="presParOf" srcId="{000696DD-9156-483B-8C2B-DFB8A3B4BCA4}" destId="{C569CFEB-6885-4864-93AB-40D0E93963A0}" srcOrd="0" destOrd="0" presId="urn:microsoft.com/office/officeart/2005/8/layout/hList1"/>
    <dgm:cxn modelId="{27B08976-23F7-48FC-A425-E8AF608FFB17}" type="presParOf" srcId="{000696DD-9156-483B-8C2B-DFB8A3B4BCA4}" destId="{13484473-4851-48EC-8924-9E35DFFD0971}" srcOrd="1" destOrd="0" presId="urn:microsoft.com/office/officeart/2005/8/layout/hList1"/>
    <dgm:cxn modelId="{AA163DE8-64B1-44E7-BA3C-BECE4F5EF18D}" type="presParOf" srcId="{BEDD8A68-99CC-4DC6-A9C8-B23ECFE28A63}" destId="{CDF60163-D935-4768-A034-1B0FAA61F0CC}" srcOrd="3" destOrd="0" presId="urn:microsoft.com/office/officeart/2005/8/layout/hList1"/>
    <dgm:cxn modelId="{E86E8AA7-3AC7-41B0-A442-6F74D69BF196}" type="presParOf" srcId="{BEDD8A68-99CC-4DC6-A9C8-B23ECFE28A63}" destId="{71D732E0-2F86-4BD5-A2DB-1481AF683939}" srcOrd="4" destOrd="0" presId="urn:microsoft.com/office/officeart/2005/8/layout/hList1"/>
    <dgm:cxn modelId="{A8815366-8FEF-4696-9A3E-D51F2D9619EB}" type="presParOf" srcId="{71D732E0-2F86-4BD5-A2DB-1481AF683939}" destId="{D3A10147-43BF-4A76-973D-FA579AC4A8A2}" srcOrd="0" destOrd="0" presId="urn:microsoft.com/office/officeart/2005/8/layout/hList1"/>
    <dgm:cxn modelId="{0B41E662-F0B3-4A43-A7D4-EAEE4ED97A5F}" type="presParOf" srcId="{71D732E0-2F86-4BD5-A2DB-1481AF683939}" destId="{8D90133C-4272-4135-9F73-1E67A4155A3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94EC516-2E06-410A-890C-387ABF74C02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AF45B76-7B63-47A1-8578-3EF191F31031}">
      <dgm:prSet custT="1"/>
      <dgm:spPr/>
      <dgm:t>
        <a:bodyPr/>
        <a:lstStyle/>
        <a:p>
          <a:r>
            <a:rPr lang="en-US" sz="2400" baseline="0" dirty="0"/>
            <a:t>Allows customers to securely store sensitive data outside of their trust boundary while protecting data from highly privileged users.</a:t>
          </a:r>
          <a:endParaRPr lang="en-US" sz="2400" dirty="0"/>
        </a:p>
      </dgm:t>
    </dgm:pt>
    <dgm:pt modelId="{FCE50006-BB03-4373-AF06-634AE826AFDE}" type="parTrans" cxnId="{25D7DDA3-8AF6-4CAB-AD60-1313D5035234}">
      <dgm:prSet/>
      <dgm:spPr/>
      <dgm:t>
        <a:bodyPr/>
        <a:lstStyle/>
        <a:p>
          <a:endParaRPr lang="en-US"/>
        </a:p>
      </dgm:t>
    </dgm:pt>
    <dgm:pt modelId="{C319964D-5449-4533-8386-B6D9E2829B66}" type="sibTrans" cxnId="{25D7DDA3-8AF6-4CAB-AD60-1313D5035234}">
      <dgm:prSet/>
      <dgm:spPr/>
      <dgm:t>
        <a:bodyPr/>
        <a:lstStyle/>
        <a:p>
          <a:endParaRPr lang="en-US"/>
        </a:p>
      </dgm:t>
    </dgm:pt>
    <dgm:pt modelId="{11C4127E-7848-42D3-A382-47A83B6BEAEC}" type="pres">
      <dgm:prSet presAssocID="{F94EC516-2E06-410A-890C-387ABF74C020}" presName="linear" presStyleCnt="0">
        <dgm:presLayoutVars>
          <dgm:animLvl val="lvl"/>
          <dgm:resizeHandles val="exact"/>
        </dgm:presLayoutVars>
      </dgm:prSet>
      <dgm:spPr/>
    </dgm:pt>
    <dgm:pt modelId="{C2CFC071-9835-4C39-9D16-0928877238E1}" type="pres">
      <dgm:prSet presAssocID="{FAF45B76-7B63-47A1-8578-3EF191F31031}" presName="parentText" presStyleLbl="node1" presStyleIdx="0" presStyleCnt="1">
        <dgm:presLayoutVars>
          <dgm:chMax val="0"/>
          <dgm:bulletEnabled val="1"/>
        </dgm:presLayoutVars>
      </dgm:prSet>
      <dgm:spPr/>
    </dgm:pt>
  </dgm:ptLst>
  <dgm:cxnLst>
    <dgm:cxn modelId="{67C21D23-0B1C-4CC1-A266-EAC9051847B3}" type="presOf" srcId="{FAF45B76-7B63-47A1-8578-3EF191F31031}" destId="{C2CFC071-9835-4C39-9D16-0928877238E1}" srcOrd="0" destOrd="0" presId="urn:microsoft.com/office/officeart/2005/8/layout/vList2"/>
    <dgm:cxn modelId="{25D7DDA3-8AF6-4CAB-AD60-1313D5035234}" srcId="{F94EC516-2E06-410A-890C-387ABF74C020}" destId="{FAF45B76-7B63-47A1-8578-3EF191F31031}" srcOrd="0" destOrd="0" parTransId="{FCE50006-BB03-4373-AF06-634AE826AFDE}" sibTransId="{C319964D-5449-4533-8386-B6D9E2829B66}"/>
    <dgm:cxn modelId="{547E88F5-9F35-4F02-9020-4C5435BAA4DF}" type="presOf" srcId="{F94EC516-2E06-410A-890C-387ABF74C020}" destId="{11C4127E-7848-42D3-A382-47A83B6BEAEC}" srcOrd="0" destOrd="0" presId="urn:microsoft.com/office/officeart/2005/8/layout/vList2"/>
    <dgm:cxn modelId="{F873EB80-BAA5-4308-B1B3-D8C8B7F37E82}" type="presParOf" srcId="{11C4127E-7848-42D3-A382-47A83B6BEAEC}" destId="{C2CFC071-9835-4C39-9D16-0928877238E1}"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CFD7033-FEAB-4FD6-B28E-F35EC4A6C4D5}" type="doc">
      <dgm:prSet loTypeId="urn:microsoft.com/office/officeart/2005/8/layout/list1" loCatId="list" qsTypeId="urn:microsoft.com/office/officeart/2005/8/quickstyle/simple2" qsCatId="simple" csTypeId="urn:microsoft.com/office/officeart/2005/8/colors/colorful1" csCatId="colorful" phldr="1"/>
      <dgm:spPr/>
      <dgm:t>
        <a:bodyPr/>
        <a:lstStyle/>
        <a:p>
          <a:endParaRPr lang="en-US"/>
        </a:p>
      </dgm:t>
    </dgm:pt>
    <dgm:pt modelId="{AE3B1A61-3EA7-4C31-B416-24B4967041A4}">
      <dgm:prSet custT="1"/>
      <dgm:spPr/>
      <dgm:t>
        <a:bodyPr/>
        <a:lstStyle/>
        <a:p>
          <a:r>
            <a:rPr lang="en-US" sz="2400" baseline="0" dirty="0"/>
            <a:t>Migration of sensitive data in application</a:t>
          </a:r>
          <a:endParaRPr lang="en-US" sz="2400" dirty="0"/>
        </a:p>
      </dgm:t>
    </dgm:pt>
    <dgm:pt modelId="{BF5B1513-EFD4-44CF-B3B2-2531AD9B3CA4}" type="parTrans" cxnId="{669A4624-1845-4F51-AFCE-562448B7A597}">
      <dgm:prSet/>
      <dgm:spPr/>
      <dgm:t>
        <a:bodyPr/>
        <a:lstStyle/>
        <a:p>
          <a:endParaRPr lang="en-US"/>
        </a:p>
      </dgm:t>
    </dgm:pt>
    <dgm:pt modelId="{27B7E328-C956-4498-8259-14FD90F5FEAF}" type="sibTrans" cxnId="{669A4624-1845-4F51-AFCE-562448B7A597}">
      <dgm:prSet/>
      <dgm:spPr/>
      <dgm:t>
        <a:bodyPr/>
        <a:lstStyle/>
        <a:p>
          <a:endParaRPr lang="en-US"/>
        </a:p>
      </dgm:t>
    </dgm:pt>
    <dgm:pt modelId="{98977B7C-1101-4E93-9CD7-14000A2BFE19}">
      <dgm:prSet/>
      <dgm:spPr/>
      <dgm:t>
        <a:bodyPr/>
        <a:lstStyle/>
        <a:p>
          <a:pPr>
            <a:lnSpc>
              <a:spcPct val="100000"/>
            </a:lnSpc>
          </a:pPr>
          <a:r>
            <a:rPr lang="en-US" baseline="0" dirty="0"/>
            <a:t>SQL Server only handles encrypted data—not plain text values</a:t>
          </a:r>
          <a:endParaRPr lang="en-US" dirty="0"/>
        </a:p>
      </dgm:t>
    </dgm:pt>
    <dgm:pt modelId="{9CA6F461-9EBA-4F48-AE45-1936737830BF}" type="parTrans" cxnId="{BD7C6BD2-F25B-4F98-85E5-A679D0466A51}">
      <dgm:prSet/>
      <dgm:spPr/>
      <dgm:t>
        <a:bodyPr/>
        <a:lstStyle/>
        <a:p>
          <a:endParaRPr lang="en-US"/>
        </a:p>
      </dgm:t>
    </dgm:pt>
    <dgm:pt modelId="{CF559AAE-0107-4067-BA98-57B11CA71885}" type="sibTrans" cxnId="{BD7C6BD2-F25B-4F98-85E5-A679D0466A51}">
      <dgm:prSet/>
      <dgm:spPr/>
      <dgm:t>
        <a:bodyPr/>
        <a:lstStyle/>
        <a:p>
          <a:endParaRPr lang="en-US"/>
        </a:p>
      </dgm:t>
    </dgm:pt>
    <dgm:pt modelId="{7E3B8579-EBD6-4DE5-839C-D575AAE932AB}">
      <dgm:prSet custT="1"/>
      <dgm:spPr/>
      <dgm:t>
        <a:bodyPr/>
        <a:lstStyle/>
        <a:p>
          <a:r>
            <a:rPr lang="en-US" sz="2400" baseline="0"/>
            <a:t>Automatic encryption and decryption of sensitive data</a:t>
          </a:r>
          <a:endParaRPr lang="en-US" sz="2400"/>
        </a:p>
      </dgm:t>
    </dgm:pt>
    <dgm:pt modelId="{E8297F23-9751-4935-92C1-2FD499FE66F1}" type="parTrans" cxnId="{4CBFB789-BAAA-47AB-ACDE-6CFD89C85F85}">
      <dgm:prSet/>
      <dgm:spPr/>
      <dgm:t>
        <a:bodyPr/>
        <a:lstStyle/>
        <a:p>
          <a:endParaRPr lang="en-US"/>
        </a:p>
      </dgm:t>
    </dgm:pt>
    <dgm:pt modelId="{2B65739A-3BA5-4BBA-B264-17FACA64CC7A}" type="sibTrans" cxnId="{4CBFB789-BAAA-47AB-ACDE-6CFD89C85F85}">
      <dgm:prSet/>
      <dgm:spPr/>
      <dgm:t>
        <a:bodyPr/>
        <a:lstStyle/>
        <a:p>
          <a:endParaRPr lang="en-US"/>
        </a:p>
      </dgm:t>
    </dgm:pt>
    <dgm:pt modelId="{BDA8FCED-9E91-4343-9921-5630F40C0B37}">
      <dgm:prSet/>
      <dgm:spPr/>
      <dgm:t>
        <a:bodyPr/>
        <a:lstStyle/>
        <a:p>
          <a:pPr>
            <a:lnSpc>
              <a:spcPct val="100000"/>
            </a:lnSpc>
          </a:pPr>
          <a:r>
            <a:rPr lang="en-US" baseline="0"/>
            <a:t>Automatically rewrites queries to preserve semantics to application</a:t>
          </a:r>
          <a:endParaRPr lang="en-US"/>
        </a:p>
      </dgm:t>
    </dgm:pt>
    <dgm:pt modelId="{76E708C3-755D-4CBD-B677-29B14D75ADED}" type="parTrans" cxnId="{49473FCA-A0B1-42A8-A965-8F65E626210D}">
      <dgm:prSet/>
      <dgm:spPr/>
      <dgm:t>
        <a:bodyPr/>
        <a:lstStyle/>
        <a:p>
          <a:endParaRPr lang="en-US"/>
        </a:p>
      </dgm:t>
    </dgm:pt>
    <dgm:pt modelId="{313EAFDB-7C18-4DE8-B16E-B27DCD846C53}" type="sibTrans" cxnId="{49473FCA-A0B1-42A8-A965-8F65E626210D}">
      <dgm:prSet/>
      <dgm:spPr/>
      <dgm:t>
        <a:bodyPr/>
        <a:lstStyle/>
        <a:p>
          <a:endParaRPr lang="en-US"/>
        </a:p>
      </dgm:t>
    </dgm:pt>
    <dgm:pt modelId="{CF052C53-5172-4188-8A5F-F30421C2B144}">
      <dgm:prSet/>
      <dgm:spPr/>
      <dgm:t>
        <a:bodyPr/>
        <a:lstStyle/>
        <a:p>
          <a:pPr>
            <a:lnSpc>
              <a:spcPct val="100000"/>
            </a:lnSpc>
          </a:pPr>
          <a:r>
            <a:rPr lang="en-US" baseline="0"/>
            <a:t>Driver transparently decrypts data</a:t>
          </a:r>
          <a:endParaRPr lang="en-US"/>
        </a:p>
      </dgm:t>
    </dgm:pt>
    <dgm:pt modelId="{D6A9F1B8-2C26-4A72-96CE-3CD7DD8ABB47}" type="parTrans" cxnId="{2803AB5C-FE22-428C-9BE5-DFCE90620583}">
      <dgm:prSet/>
      <dgm:spPr/>
      <dgm:t>
        <a:bodyPr/>
        <a:lstStyle/>
        <a:p>
          <a:endParaRPr lang="en-US"/>
        </a:p>
      </dgm:t>
    </dgm:pt>
    <dgm:pt modelId="{CB1270FC-A780-4603-B1B6-144318D0D9F4}" type="sibTrans" cxnId="{2803AB5C-FE22-428C-9BE5-DFCE90620583}">
      <dgm:prSet/>
      <dgm:spPr/>
      <dgm:t>
        <a:bodyPr/>
        <a:lstStyle/>
        <a:p>
          <a:endParaRPr lang="en-US"/>
        </a:p>
      </dgm:t>
    </dgm:pt>
    <dgm:pt modelId="{94E7EA51-7A14-408E-AE34-5CF3DC711304}">
      <dgm:prSet custT="1"/>
      <dgm:spPr/>
      <dgm:t>
        <a:bodyPr/>
        <a:lstStyle/>
        <a:p>
          <a:r>
            <a:rPr lang="en-US" sz="2400" baseline="0"/>
            <a:t>Bulk loading of encrypted data</a:t>
          </a:r>
          <a:endParaRPr lang="en-US" sz="2400"/>
        </a:p>
      </dgm:t>
    </dgm:pt>
    <dgm:pt modelId="{BA87E583-6188-4849-9FFB-2A73DD534BF0}" type="parTrans" cxnId="{7E2A3FBB-E962-4CEA-8750-E62BE33D9A46}">
      <dgm:prSet/>
      <dgm:spPr/>
      <dgm:t>
        <a:bodyPr/>
        <a:lstStyle/>
        <a:p>
          <a:endParaRPr lang="en-US"/>
        </a:p>
      </dgm:t>
    </dgm:pt>
    <dgm:pt modelId="{3D60DF81-8939-41E4-BBDC-481CCD8FB6BB}" type="sibTrans" cxnId="{7E2A3FBB-E962-4CEA-8750-E62BE33D9A46}">
      <dgm:prSet/>
      <dgm:spPr/>
      <dgm:t>
        <a:bodyPr/>
        <a:lstStyle/>
        <a:p>
          <a:endParaRPr lang="en-US"/>
        </a:p>
      </dgm:t>
    </dgm:pt>
    <dgm:pt modelId="{08ED585E-3C1A-4A53-B19B-E70E7D2AD004}">
      <dgm:prSet/>
      <dgm:spPr/>
      <dgm:t>
        <a:bodyPr/>
        <a:lstStyle/>
        <a:p>
          <a:pPr>
            <a:lnSpc>
              <a:spcPct val="100000"/>
            </a:lnSpc>
          </a:pPr>
          <a:r>
            <a:rPr lang="en-US" baseline="0"/>
            <a:t>Use ALLOW_ENCRYPTED_VALUE_MODIFICATIONS option for bulk loading</a:t>
          </a:r>
          <a:endParaRPr lang="en-US"/>
        </a:p>
      </dgm:t>
    </dgm:pt>
    <dgm:pt modelId="{B3FA83E7-E469-49EC-BA10-AACC4CF07C10}" type="parTrans" cxnId="{E8590BDE-DEAF-47B4-9B06-FFA35E822F05}">
      <dgm:prSet/>
      <dgm:spPr/>
      <dgm:t>
        <a:bodyPr/>
        <a:lstStyle/>
        <a:p>
          <a:endParaRPr lang="en-US"/>
        </a:p>
      </dgm:t>
    </dgm:pt>
    <dgm:pt modelId="{7EC8528F-6285-41C8-891D-287A528EA56A}" type="sibTrans" cxnId="{E8590BDE-DEAF-47B4-9B06-FFA35E822F05}">
      <dgm:prSet/>
      <dgm:spPr/>
      <dgm:t>
        <a:bodyPr/>
        <a:lstStyle/>
        <a:p>
          <a:endParaRPr lang="en-US"/>
        </a:p>
      </dgm:t>
    </dgm:pt>
    <dgm:pt modelId="{7260CA1E-2257-4D23-80C5-E5E1BC206F36}" type="pres">
      <dgm:prSet presAssocID="{DCFD7033-FEAB-4FD6-B28E-F35EC4A6C4D5}" presName="linear" presStyleCnt="0">
        <dgm:presLayoutVars>
          <dgm:dir/>
          <dgm:animLvl val="lvl"/>
          <dgm:resizeHandles val="exact"/>
        </dgm:presLayoutVars>
      </dgm:prSet>
      <dgm:spPr/>
    </dgm:pt>
    <dgm:pt modelId="{DE50BCA3-C8FF-4EF7-86F1-44084A2688A4}" type="pres">
      <dgm:prSet presAssocID="{AE3B1A61-3EA7-4C31-B416-24B4967041A4}" presName="parentLin" presStyleCnt="0"/>
      <dgm:spPr/>
    </dgm:pt>
    <dgm:pt modelId="{865D9394-F3D1-4FC2-9C6C-495E546DB114}" type="pres">
      <dgm:prSet presAssocID="{AE3B1A61-3EA7-4C31-B416-24B4967041A4}" presName="parentLeftMargin" presStyleLbl="node1" presStyleIdx="0" presStyleCnt="3"/>
      <dgm:spPr/>
    </dgm:pt>
    <dgm:pt modelId="{F7736CFC-A0BC-4EFE-BE42-BF0F0E381665}" type="pres">
      <dgm:prSet presAssocID="{AE3B1A61-3EA7-4C31-B416-24B4967041A4}" presName="parentText" presStyleLbl="node1" presStyleIdx="0" presStyleCnt="3" custScaleX="108608">
        <dgm:presLayoutVars>
          <dgm:chMax val="0"/>
          <dgm:bulletEnabled val="1"/>
        </dgm:presLayoutVars>
      </dgm:prSet>
      <dgm:spPr/>
    </dgm:pt>
    <dgm:pt modelId="{47A0E1B7-BEBD-475D-9853-C712DCE4BF0F}" type="pres">
      <dgm:prSet presAssocID="{AE3B1A61-3EA7-4C31-B416-24B4967041A4}" presName="negativeSpace" presStyleCnt="0"/>
      <dgm:spPr/>
    </dgm:pt>
    <dgm:pt modelId="{07856AE0-EE91-4977-A156-4D3DF521BB72}" type="pres">
      <dgm:prSet presAssocID="{AE3B1A61-3EA7-4C31-B416-24B4967041A4}" presName="childText" presStyleLbl="conFgAcc1" presStyleIdx="0" presStyleCnt="3">
        <dgm:presLayoutVars>
          <dgm:bulletEnabled val="1"/>
        </dgm:presLayoutVars>
      </dgm:prSet>
      <dgm:spPr/>
    </dgm:pt>
    <dgm:pt modelId="{6B78DDC3-0B88-477C-A3F2-116E86256240}" type="pres">
      <dgm:prSet presAssocID="{27B7E328-C956-4498-8259-14FD90F5FEAF}" presName="spaceBetweenRectangles" presStyleCnt="0"/>
      <dgm:spPr/>
    </dgm:pt>
    <dgm:pt modelId="{398AB93A-1A30-4EFA-A081-B2F10664A63B}" type="pres">
      <dgm:prSet presAssocID="{7E3B8579-EBD6-4DE5-839C-D575AAE932AB}" presName="parentLin" presStyleCnt="0"/>
      <dgm:spPr/>
    </dgm:pt>
    <dgm:pt modelId="{3B1D30AF-74D9-472B-B5A1-A7343DF4E6EB}" type="pres">
      <dgm:prSet presAssocID="{7E3B8579-EBD6-4DE5-839C-D575AAE932AB}" presName="parentLeftMargin" presStyleLbl="node1" presStyleIdx="0" presStyleCnt="3"/>
      <dgm:spPr/>
    </dgm:pt>
    <dgm:pt modelId="{1185A1B6-7D65-4F50-8E14-FBA3CE65357A}" type="pres">
      <dgm:prSet presAssocID="{7E3B8579-EBD6-4DE5-839C-D575AAE932AB}" presName="parentText" presStyleLbl="node1" presStyleIdx="1" presStyleCnt="3" custScaleX="108608">
        <dgm:presLayoutVars>
          <dgm:chMax val="0"/>
          <dgm:bulletEnabled val="1"/>
        </dgm:presLayoutVars>
      </dgm:prSet>
      <dgm:spPr/>
    </dgm:pt>
    <dgm:pt modelId="{A8C3038F-E158-456F-B7EA-8633B54069DB}" type="pres">
      <dgm:prSet presAssocID="{7E3B8579-EBD6-4DE5-839C-D575AAE932AB}" presName="negativeSpace" presStyleCnt="0"/>
      <dgm:spPr/>
    </dgm:pt>
    <dgm:pt modelId="{EAA1063C-58AA-4FF2-9C02-E8E5ADEE8C64}" type="pres">
      <dgm:prSet presAssocID="{7E3B8579-EBD6-4DE5-839C-D575AAE932AB}" presName="childText" presStyleLbl="conFgAcc1" presStyleIdx="1" presStyleCnt="3">
        <dgm:presLayoutVars>
          <dgm:bulletEnabled val="1"/>
        </dgm:presLayoutVars>
      </dgm:prSet>
      <dgm:spPr/>
    </dgm:pt>
    <dgm:pt modelId="{F3868603-E2F6-488E-A68E-71167C6FE050}" type="pres">
      <dgm:prSet presAssocID="{2B65739A-3BA5-4BBA-B264-17FACA64CC7A}" presName="spaceBetweenRectangles" presStyleCnt="0"/>
      <dgm:spPr/>
    </dgm:pt>
    <dgm:pt modelId="{2EDD8776-181A-4157-8B52-24192F52FA48}" type="pres">
      <dgm:prSet presAssocID="{94E7EA51-7A14-408E-AE34-5CF3DC711304}" presName="parentLin" presStyleCnt="0"/>
      <dgm:spPr/>
    </dgm:pt>
    <dgm:pt modelId="{EF55A3D2-A8AD-408C-8AA6-82508F548E11}" type="pres">
      <dgm:prSet presAssocID="{94E7EA51-7A14-408E-AE34-5CF3DC711304}" presName="parentLeftMargin" presStyleLbl="node1" presStyleIdx="1" presStyleCnt="3"/>
      <dgm:spPr/>
    </dgm:pt>
    <dgm:pt modelId="{CA52615F-F6B2-43C5-901B-F50A45071F51}" type="pres">
      <dgm:prSet presAssocID="{94E7EA51-7A14-408E-AE34-5CF3DC711304}" presName="parentText" presStyleLbl="node1" presStyleIdx="2" presStyleCnt="3" custScaleX="108608">
        <dgm:presLayoutVars>
          <dgm:chMax val="0"/>
          <dgm:bulletEnabled val="1"/>
        </dgm:presLayoutVars>
      </dgm:prSet>
      <dgm:spPr/>
    </dgm:pt>
    <dgm:pt modelId="{47AA281D-4401-4541-853D-A7D5E3C9A518}" type="pres">
      <dgm:prSet presAssocID="{94E7EA51-7A14-408E-AE34-5CF3DC711304}" presName="negativeSpace" presStyleCnt="0"/>
      <dgm:spPr/>
    </dgm:pt>
    <dgm:pt modelId="{15E0B48C-36ED-4E65-A9C1-8CD747B5E99F}" type="pres">
      <dgm:prSet presAssocID="{94E7EA51-7A14-408E-AE34-5CF3DC711304}" presName="childText" presStyleLbl="conFgAcc1" presStyleIdx="2" presStyleCnt="3">
        <dgm:presLayoutVars>
          <dgm:bulletEnabled val="1"/>
        </dgm:presLayoutVars>
      </dgm:prSet>
      <dgm:spPr/>
    </dgm:pt>
  </dgm:ptLst>
  <dgm:cxnLst>
    <dgm:cxn modelId="{C65BCC06-951E-4639-A3C8-961B1EE05767}" type="presOf" srcId="{94E7EA51-7A14-408E-AE34-5CF3DC711304}" destId="{EF55A3D2-A8AD-408C-8AA6-82508F548E11}" srcOrd="0" destOrd="0" presId="urn:microsoft.com/office/officeart/2005/8/layout/list1"/>
    <dgm:cxn modelId="{547DE617-E6E8-47F2-9B64-1F7B51D97B0D}" type="presOf" srcId="{BDA8FCED-9E91-4343-9921-5630F40C0B37}" destId="{EAA1063C-58AA-4FF2-9C02-E8E5ADEE8C64}" srcOrd="0" destOrd="0" presId="urn:microsoft.com/office/officeart/2005/8/layout/list1"/>
    <dgm:cxn modelId="{40B6191D-9B14-417F-B27C-CBEFC678146F}" type="presOf" srcId="{7E3B8579-EBD6-4DE5-839C-D575AAE932AB}" destId="{1185A1B6-7D65-4F50-8E14-FBA3CE65357A}" srcOrd="1" destOrd="0" presId="urn:microsoft.com/office/officeart/2005/8/layout/list1"/>
    <dgm:cxn modelId="{669A4624-1845-4F51-AFCE-562448B7A597}" srcId="{DCFD7033-FEAB-4FD6-B28E-F35EC4A6C4D5}" destId="{AE3B1A61-3EA7-4C31-B416-24B4967041A4}" srcOrd="0" destOrd="0" parTransId="{BF5B1513-EFD4-44CF-B3B2-2531AD9B3CA4}" sibTransId="{27B7E328-C956-4498-8259-14FD90F5FEAF}"/>
    <dgm:cxn modelId="{E0DA7728-89E5-4551-AB71-D8CFD5BA238E}" type="presOf" srcId="{98977B7C-1101-4E93-9CD7-14000A2BFE19}" destId="{07856AE0-EE91-4977-A156-4D3DF521BB72}" srcOrd="0" destOrd="0" presId="urn:microsoft.com/office/officeart/2005/8/layout/list1"/>
    <dgm:cxn modelId="{124B9D28-C60B-4113-8465-84534BB089FC}" type="presOf" srcId="{7E3B8579-EBD6-4DE5-839C-D575AAE932AB}" destId="{3B1D30AF-74D9-472B-B5A1-A7343DF4E6EB}" srcOrd="0" destOrd="0" presId="urn:microsoft.com/office/officeart/2005/8/layout/list1"/>
    <dgm:cxn modelId="{1549FC31-521D-40FF-9355-F733BAD839ED}" type="presOf" srcId="{94E7EA51-7A14-408E-AE34-5CF3DC711304}" destId="{CA52615F-F6B2-43C5-901B-F50A45071F51}" srcOrd="1" destOrd="0" presId="urn:microsoft.com/office/officeart/2005/8/layout/list1"/>
    <dgm:cxn modelId="{2803AB5C-FE22-428C-9BE5-DFCE90620583}" srcId="{7E3B8579-EBD6-4DE5-839C-D575AAE932AB}" destId="{CF052C53-5172-4188-8A5F-F30421C2B144}" srcOrd="1" destOrd="0" parTransId="{D6A9F1B8-2C26-4A72-96CE-3CD7DD8ABB47}" sibTransId="{CB1270FC-A780-4603-B1B6-144318D0D9F4}"/>
    <dgm:cxn modelId="{0FA6445F-8C7F-41A4-8F47-B1F6DE432AAB}" type="presOf" srcId="{CF052C53-5172-4188-8A5F-F30421C2B144}" destId="{EAA1063C-58AA-4FF2-9C02-E8E5ADEE8C64}" srcOrd="0" destOrd="1" presId="urn:microsoft.com/office/officeart/2005/8/layout/list1"/>
    <dgm:cxn modelId="{288C246A-81FB-43C3-9D28-A5EA5EF14D90}" type="presOf" srcId="{AE3B1A61-3EA7-4C31-B416-24B4967041A4}" destId="{865D9394-F3D1-4FC2-9C6C-495E546DB114}" srcOrd="0" destOrd="0" presId="urn:microsoft.com/office/officeart/2005/8/layout/list1"/>
    <dgm:cxn modelId="{6CC8F350-A1D4-406F-BEA1-72173CD344F1}" type="presOf" srcId="{AE3B1A61-3EA7-4C31-B416-24B4967041A4}" destId="{F7736CFC-A0BC-4EFE-BE42-BF0F0E381665}" srcOrd="1" destOrd="0" presId="urn:microsoft.com/office/officeart/2005/8/layout/list1"/>
    <dgm:cxn modelId="{24DD3E54-CF58-4C49-AFD2-89425063D59F}" type="presOf" srcId="{08ED585E-3C1A-4A53-B19B-E70E7D2AD004}" destId="{15E0B48C-36ED-4E65-A9C1-8CD747B5E99F}" srcOrd="0" destOrd="0" presId="urn:microsoft.com/office/officeart/2005/8/layout/list1"/>
    <dgm:cxn modelId="{B8531482-4625-4516-9125-EAAF4148D5C8}" type="presOf" srcId="{DCFD7033-FEAB-4FD6-B28E-F35EC4A6C4D5}" destId="{7260CA1E-2257-4D23-80C5-E5E1BC206F36}" srcOrd="0" destOrd="0" presId="urn:microsoft.com/office/officeart/2005/8/layout/list1"/>
    <dgm:cxn modelId="{4CBFB789-BAAA-47AB-ACDE-6CFD89C85F85}" srcId="{DCFD7033-FEAB-4FD6-B28E-F35EC4A6C4D5}" destId="{7E3B8579-EBD6-4DE5-839C-D575AAE932AB}" srcOrd="1" destOrd="0" parTransId="{E8297F23-9751-4935-92C1-2FD499FE66F1}" sibTransId="{2B65739A-3BA5-4BBA-B264-17FACA64CC7A}"/>
    <dgm:cxn modelId="{7E2A3FBB-E962-4CEA-8750-E62BE33D9A46}" srcId="{DCFD7033-FEAB-4FD6-B28E-F35EC4A6C4D5}" destId="{94E7EA51-7A14-408E-AE34-5CF3DC711304}" srcOrd="2" destOrd="0" parTransId="{BA87E583-6188-4849-9FFB-2A73DD534BF0}" sibTransId="{3D60DF81-8939-41E4-BBDC-481CCD8FB6BB}"/>
    <dgm:cxn modelId="{49473FCA-A0B1-42A8-A965-8F65E626210D}" srcId="{7E3B8579-EBD6-4DE5-839C-D575AAE932AB}" destId="{BDA8FCED-9E91-4343-9921-5630F40C0B37}" srcOrd="0" destOrd="0" parTransId="{76E708C3-755D-4CBD-B677-29B14D75ADED}" sibTransId="{313EAFDB-7C18-4DE8-B16E-B27DCD846C53}"/>
    <dgm:cxn modelId="{BD7C6BD2-F25B-4F98-85E5-A679D0466A51}" srcId="{AE3B1A61-3EA7-4C31-B416-24B4967041A4}" destId="{98977B7C-1101-4E93-9CD7-14000A2BFE19}" srcOrd="0" destOrd="0" parTransId="{9CA6F461-9EBA-4F48-AE45-1936737830BF}" sibTransId="{CF559AAE-0107-4067-BA98-57B11CA71885}"/>
    <dgm:cxn modelId="{E8590BDE-DEAF-47B4-9B06-FFA35E822F05}" srcId="{94E7EA51-7A14-408E-AE34-5CF3DC711304}" destId="{08ED585E-3C1A-4A53-B19B-E70E7D2AD004}" srcOrd="0" destOrd="0" parTransId="{B3FA83E7-E469-49EC-BA10-AACC4CF07C10}" sibTransId="{7EC8528F-6285-41C8-891D-287A528EA56A}"/>
    <dgm:cxn modelId="{AB72159F-54CA-4A50-AF5D-32448E9D6575}" type="presParOf" srcId="{7260CA1E-2257-4D23-80C5-E5E1BC206F36}" destId="{DE50BCA3-C8FF-4EF7-86F1-44084A2688A4}" srcOrd="0" destOrd="0" presId="urn:microsoft.com/office/officeart/2005/8/layout/list1"/>
    <dgm:cxn modelId="{0B02852D-2F57-4DE7-85E2-4654598B3640}" type="presParOf" srcId="{DE50BCA3-C8FF-4EF7-86F1-44084A2688A4}" destId="{865D9394-F3D1-4FC2-9C6C-495E546DB114}" srcOrd="0" destOrd="0" presId="urn:microsoft.com/office/officeart/2005/8/layout/list1"/>
    <dgm:cxn modelId="{92D63EFE-EF35-42EF-BF9B-F26BA873BA92}" type="presParOf" srcId="{DE50BCA3-C8FF-4EF7-86F1-44084A2688A4}" destId="{F7736CFC-A0BC-4EFE-BE42-BF0F0E381665}" srcOrd="1" destOrd="0" presId="urn:microsoft.com/office/officeart/2005/8/layout/list1"/>
    <dgm:cxn modelId="{45AE21E7-2E29-4743-9E75-89ABF78C3005}" type="presParOf" srcId="{7260CA1E-2257-4D23-80C5-E5E1BC206F36}" destId="{47A0E1B7-BEBD-475D-9853-C712DCE4BF0F}" srcOrd="1" destOrd="0" presId="urn:microsoft.com/office/officeart/2005/8/layout/list1"/>
    <dgm:cxn modelId="{5380CB67-4E94-4C3E-AAD9-588C85DD68B7}" type="presParOf" srcId="{7260CA1E-2257-4D23-80C5-E5E1BC206F36}" destId="{07856AE0-EE91-4977-A156-4D3DF521BB72}" srcOrd="2" destOrd="0" presId="urn:microsoft.com/office/officeart/2005/8/layout/list1"/>
    <dgm:cxn modelId="{10E03B51-8792-4E90-AE97-CB43140DD451}" type="presParOf" srcId="{7260CA1E-2257-4D23-80C5-E5E1BC206F36}" destId="{6B78DDC3-0B88-477C-A3F2-116E86256240}" srcOrd="3" destOrd="0" presId="urn:microsoft.com/office/officeart/2005/8/layout/list1"/>
    <dgm:cxn modelId="{A4965146-23AC-4F2F-8EDB-19332D290B01}" type="presParOf" srcId="{7260CA1E-2257-4D23-80C5-E5E1BC206F36}" destId="{398AB93A-1A30-4EFA-A081-B2F10664A63B}" srcOrd="4" destOrd="0" presId="urn:microsoft.com/office/officeart/2005/8/layout/list1"/>
    <dgm:cxn modelId="{1077535B-E718-4E33-99DE-569C3B4E7C3F}" type="presParOf" srcId="{398AB93A-1A30-4EFA-A081-B2F10664A63B}" destId="{3B1D30AF-74D9-472B-B5A1-A7343DF4E6EB}" srcOrd="0" destOrd="0" presId="urn:microsoft.com/office/officeart/2005/8/layout/list1"/>
    <dgm:cxn modelId="{1E9F7A14-95FF-413B-8B6C-4E5FBD7511BE}" type="presParOf" srcId="{398AB93A-1A30-4EFA-A081-B2F10664A63B}" destId="{1185A1B6-7D65-4F50-8E14-FBA3CE65357A}" srcOrd="1" destOrd="0" presId="urn:microsoft.com/office/officeart/2005/8/layout/list1"/>
    <dgm:cxn modelId="{0E9678E1-876C-4122-8059-E4B60BE813C8}" type="presParOf" srcId="{7260CA1E-2257-4D23-80C5-E5E1BC206F36}" destId="{A8C3038F-E158-456F-B7EA-8633B54069DB}" srcOrd="5" destOrd="0" presId="urn:microsoft.com/office/officeart/2005/8/layout/list1"/>
    <dgm:cxn modelId="{66F8F7AF-8D5B-415B-A19D-128033670AB7}" type="presParOf" srcId="{7260CA1E-2257-4D23-80C5-E5E1BC206F36}" destId="{EAA1063C-58AA-4FF2-9C02-E8E5ADEE8C64}" srcOrd="6" destOrd="0" presId="urn:microsoft.com/office/officeart/2005/8/layout/list1"/>
    <dgm:cxn modelId="{7AD2BDFE-1D78-4D91-A27D-3606BD2FAAF3}" type="presParOf" srcId="{7260CA1E-2257-4D23-80C5-E5E1BC206F36}" destId="{F3868603-E2F6-488E-A68E-71167C6FE050}" srcOrd="7" destOrd="0" presId="urn:microsoft.com/office/officeart/2005/8/layout/list1"/>
    <dgm:cxn modelId="{0EBFD026-F19E-45C4-A483-BA4DB3169302}" type="presParOf" srcId="{7260CA1E-2257-4D23-80C5-E5E1BC206F36}" destId="{2EDD8776-181A-4157-8B52-24192F52FA48}" srcOrd="8" destOrd="0" presId="urn:microsoft.com/office/officeart/2005/8/layout/list1"/>
    <dgm:cxn modelId="{5166A2D8-E00B-41F1-BEA9-5DDD9D251580}" type="presParOf" srcId="{2EDD8776-181A-4157-8B52-24192F52FA48}" destId="{EF55A3D2-A8AD-408C-8AA6-82508F548E11}" srcOrd="0" destOrd="0" presId="urn:microsoft.com/office/officeart/2005/8/layout/list1"/>
    <dgm:cxn modelId="{BE58CE1F-8243-47FE-BE5C-2618914430D0}" type="presParOf" srcId="{2EDD8776-181A-4157-8B52-24192F52FA48}" destId="{CA52615F-F6B2-43C5-901B-F50A45071F51}" srcOrd="1" destOrd="0" presId="urn:microsoft.com/office/officeart/2005/8/layout/list1"/>
    <dgm:cxn modelId="{FB54C669-DC80-4F86-B748-946752C4B954}" type="presParOf" srcId="{7260CA1E-2257-4D23-80C5-E5E1BC206F36}" destId="{47AA281D-4401-4541-853D-A7D5E3C9A518}" srcOrd="9" destOrd="0" presId="urn:microsoft.com/office/officeart/2005/8/layout/list1"/>
    <dgm:cxn modelId="{9A1EAF93-14EA-4844-91FA-8ADC494096C7}" type="presParOf" srcId="{7260CA1E-2257-4D23-80C5-E5E1BC206F36}" destId="{15E0B48C-36ED-4E65-A9C1-8CD747B5E99F}"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82641C2-A094-4D38-BB11-407AFC90E4AC}"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FD220F3B-772A-4C36-BDD0-2AEA3F437D1F}">
      <dgm:prSet custT="1"/>
      <dgm:spPr/>
      <dgm:t>
        <a:bodyPr/>
        <a:lstStyle/>
        <a:p>
          <a:r>
            <a:rPr lang="en-US" sz="2400" baseline="0"/>
            <a:t>Capability</a:t>
          </a:r>
          <a:endParaRPr lang="en-US" sz="2400"/>
        </a:p>
      </dgm:t>
    </dgm:pt>
    <dgm:pt modelId="{27771F95-0827-477E-8DA1-5D24772282F8}" type="parTrans" cxnId="{B6EF01AE-9B4B-48E0-A8A0-5CFEEAC2EC2B}">
      <dgm:prSet/>
      <dgm:spPr/>
      <dgm:t>
        <a:bodyPr/>
        <a:lstStyle/>
        <a:p>
          <a:endParaRPr lang="en-US"/>
        </a:p>
      </dgm:t>
    </dgm:pt>
    <dgm:pt modelId="{E817510F-3E1F-487E-8505-246DF7991E37}" type="sibTrans" cxnId="{B6EF01AE-9B4B-48E0-A8A0-5CFEEAC2EC2B}">
      <dgm:prSet/>
      <dgm:spPr/>
      <dgm:t>
        <a:bodyPr/>
        <a:lstStyle/>
        <a:p>
          <a:endParaRPr lang="en-US"/>
        </a:p>
      </dgm:t>
    </dgm:pt>
    <dgm:pt modelId="{3A4C31ED-F133-42F3-A48C-255985EBB7E5}">
      <dgm:prSet/>
      <dgm:spPr/>
      <dgm:t>
        <a:bodyPr/>
        <a:lstStyle/>
        <a:p>
          <a:r>
            <a:rPr lang="en-US" baseline="0"/>
            <a:t>The ADO.NET client library provides transparent client-side encryption</a:t>
          </a:r>
          <a:endParaRPr lang="en-US"/>
        </a:p>
      </dgm:t>
    </dgm:pt>
    <dgm:pt modelId="{644AA738-A873-475F-8B77-A745F9253755}" type="parTrans" cxnId="{F60101D5-6A67-4DC7-A027-DBFE2B0C9C1C}">
      <dgm:prSet/>
      <dgm:spPr/>
      <dgm:t>
        <a:bodyPr/>
        <a:lstStyle/>
        <a:p>
          <a:endParaRPr lang="en-US"/>
        </a:p>
      </dgm:t>
    </dgm:pt>
    <dgm:pt modelId="{4593E642-12CB-4A4D-8005-F26C0012D299}" type="sibTrans" cxnId="{F60101D5-6A67-4DC7-A027-DBFE2B0C9C1C}">
      <dgm:prSet/>
      <dgm:spPr/>
      <dgm:t>
        <a:bodyPr/>
        <a:lstStyle/>
        <a:p>
          <a:endParaRPr lang="en-US"/>
        </a:p>
      </dgm:t>
    </dgm:pt>
    <dgm:pt modelId="{75268365-68D6-43A3-852C-4D2D08AD9A0F}">
      <dgm:prSet/>
      <dgm:spPr/>
      <dgm:t>
        <a:bodyPr/>
        <a:lstStyle/>
        <a:p>
          <a:r>
            <a:rPr lang="en-US" baseline="0"/>
            <a:t>Microsoft SQL Server executes T-SQL queries on encrypted data</a:t>
          </a:r>
          <a:endParaRPr lang="en-US"/>
        </a:p>
      </dgm:t>
    </dgm:pt>
    <dgm:pt modelId="{41971B48-D5FA-4BA9-ABF4-80C641F20533}" type="parTrans" cxnId="{16E96242-35D4-4D4B-B563-352034A2C08E}">
      <dgm:prSet/>
      <dgm:spPr/>
      <dgm:t>
        <a:bodyPr/>
        <a:lstStyle/>
        <a:p>
          <a:endParaRPr lang="en-US"/>
        </a:p>
      </dgm:t>
    </dgm:pt>
    <dgm:pt modelId="{9F66A8CB-301E-4FD4-8104-CBB5996CB680}" type="sibTrans" cxnId="{16E96242-35D4-4D4B-B563-352034A2C08E}">
      <dgm:prSet/>
      <dgm:spPr/>
      <dgm:t>
        <a:bodyPr/>
        <a:lstStyle/>
        <a:p>
          <a:endParaRPr lang="en-US"/>
        </a:p>
      </dgm:t>
    </dgm:pt>
    <dgm:pt modelId="{EBEBAC0F-E81A-4837-BC74-877F05C477E7}">
      <dgm:prSet custT="1"/>
      <dgm:spPr/>
      <dgm:t>
        <a:bodyPr/>
        <a:lstStyle/>
        <a:p>
          <a:r>
            <a:rPr lang="en-US" sz="2400" baseline="0"/>
            <a:t>Benefits</a:t>
          </a:r>
          <a:endParaRPr lang="en-US" sz="2400"/>
        </a:p>
      </dgm:t>
    </dgm:pt>
    <dgm:pt modelId="{F30BC659-B96B-42F3-8FBB-DC9D0EC3ABBD}" type="parTrans" cxnId="{16787F53-FBA9-4142-9F85-44CAED6E59AB}">
      <dgm:prSet/>
      <dgm:spPr/>
      <dgm:t>
        <a:bodyPr/>
        <a:lstStyle/>
        <a:p>
          <a:endParaRPr lang="en-US"/>
        </a:p>
      </dgm:t>
    </dgm:pt>
    <dgm:pt modelId="{ADFE51AE-E8CE-4A10-9CA6-B3985CA8BBA1}" type="sibTrans" cxnId="{16787F53-FBA9-4142-9F85-44CAED6E59AB}">
      <dgm:prSet/>
      <dgm:spPr/>
      <dgm:t>
        <a:bodyPr/>
        <a:lstStyle/>
        <a:p>
          <a:endParaRPr lang="en-US"/>
        </a:p>
      </dgm:t>
    </dgm:pt>
    <dgm:pt modelId="{83BF6A80-1849-4606-9187-9EB49E2DD082}">
      <dgm:prSet/>
      <dgm:spPr/>
      <dgm:t>
        <a:bodyPr/>
        <a:lstStyle/>
        <a:p>
          <a:r>
            <a:rPr lang="en-US" baseline="0" dirty="0"/>
            <a:t>Sensitive data remains encrypted and can always be queried , on-premises and in the cloud</a:t>
          </a:r>
          <a:endParaRPr lang="en-US" dirty="0"/>
        </a:p>
      </dgm:t>
    </dgm:pt>
    <dgm:pt modelId="{CA8FB9A8-A520-40CD-B04E-2E990314D94F}" type="parTrans" cxnId="{941CA10D-3330-4267-9C37-0EEAEFCA6463}">
      <dgm:prSet/>
      <dgm:spPr/>
      <dgm:t>
        <a:bodyPr/>
        <a:lstStyle/>
        <a:p>
          <a:endParaRPr lang="en-US"/>
        </a:p>
      </dgm:t>
    </dgm:pt>
    <dgm:pt modelId="{2A16EF3D-64A9-4FBE-8CE3-03557DCA291A}" type="sibTrans" cxnId="{941CA10D-3330-4267-9C37-0EEAEFCA6463}">
      <dgm:prSet/>
      <dgm:spPr/>
      <dgm:t>
        <a:bodyPr/>
        <a:lstStyle/>
        <a:p>
          <a:endParaRPr lang="en-US"/>
        </a:p>
      </dgm:t>
    </dgm:pt>
    <dgm:pt modelId="{D7C4D328-DA8F-4F55-B840-B62DC113D3B2}">
      <dgm:prSet/>
      <dgm:spPr/>
      <dgm:t>
        <a:bodyPr/>
        <a:lstStyle/>
        <a:p>
          <a:r>
            <a:rPr lang="en-US" baseline="0" dirty="0"/>
            <a:t>Unauthorized users never have access to data or keys</a:t>
          </a:r>
          <a:endParaRPr lang="en-US" dirty="0"/>
        </a:p>
      </dgm:t>
    </dgm:pt>
    <dgm:pt modelId="{FD4D897C-C2F2-4D1A-B3AD-6FF820C2A487}" type="parTrans" cxnId="{25F49B04-6F64-432D-B4FB-D4026E9ECF9F}">
      <dgm:prSet/>
      <dgm:spPr/>
      <dgm:t>
        <a:bodyPr/>
        <a:lstStyle/>
        <a:p>
          <a:endParaRPr lang="en-US"/>
        </a:p>
      </dgm:t>
    </dgm:pt>
    <dgm:pt modelId="{7B75D339-AB24-49C6-A30F-F91C5C0B7AC9}" type="sibTrans" cxnId="{25F49B04-6F64-432D-B4FB-D4026E9ECF9F}">
      <dgm:prSet/>
      <dgm:spPr/>
      <dgm:t>
        <a:bodyPr/>
        <a:lstStyle/>
        <a:p>
          <a:endParaRPr lang="en-US"/>
        </a:p>
      </dgm:t>
    </dgm:pt>
    <dgm:pt modelId="{B13E4771-35DB-4FF9-AAAA-95707E2B59E0}">
      <dgm:prSet/>
      <dgm:spPr/>
      <dgm:t>
        <a:bodyPr/>
        <a:lstStyle/>
        <a:p>
          <a:r>
            <a:rPr lang="en-US" baseline="0" dirty="0"/>
            <a:t>No application changes  </a:t>
          </a:r>
          <a:endParaRPr lang="en-US" dirty="0"/>
        </a:p>
      </dgm:t>
    </dgm:pt>
    <dgm:pt modelId="{27AD06D0-FFBB-4F0A-8AE3-B84444EEB820}" type="parTrans" cxnId="{E97FED07-828F-48F8-9B8D-FADE7A93D2D0}">
      <dgm:prSet/>
      <dgm:spPr/>
      <dgm:t>
        <a:bodyPr/>
        <a:lstStyle/>
        <a:p>
          <a:endParaRPr lang="en-US"/>
        </a:p>
      </dgm:t>
    </dgm:pt>
    <dgm:pt modelId="{F4ABE700-58B2-4D9E-8AF8-94919ED2B5C9}" type="sibTrans" cxnId="{E97FED07-828F-48F8-9B8D-FADE7A93D2D0}">
      <dgm:prSet/>
      <dgm:spPr/>
      <dgm:t>
        <a:bodyPr/>
        <a:lstStyle/>
        <a:p>
          <a:endParaRPr lang="en-US"/>
        </a:p>
      </dgm:t>
    </dgm:pt>
    <dgm:pt modelId="{D026C20D-032F-4B31-AA25-6E9A47807F4F}" type="pres">
      <dgm:prSet presAssocID="{982641C2-A094-4D38-BB11-407AFC90E4AC}" presName="linear" presStyleCnt="0">
        <dgm:presLayoutVars>
          <dgm:animLvl val="lvl"/>
          <dgm:resizeHandles val="exact"/>
        </dgm:presLayoutVars>
      </dgm:prSet>
      <dgm:spPr/>
    </dgm:pt>
    <dgm:pt modelId="{E6AA28EE-A740-4EBA-847A-0D85A18312D3}" type="pres">
      <dgm:prSet presAssocID="{FD220F3B-772A-4C36-BDD0-2AEA3F437D1F}" presName="parentText" presStyleLbl="node1" presStyleIdx="0" presStyleCnt="2">
        <dgm:presLayoutVars>
          <dgm:chMax val="0"/>
          <dgm:bulletEnabled val="1"/>
        </dgm:presLayoutVars>
      </dgm:prSet>
      <dgm:spPr/>
    </dgm:pt>
    <dgm:pt modelId="{2CE60CE3-C912-4F04-A89A-7FA5103BBEEC}" type="pres">
      <dgm:prSet presAssocID="{FD220F3B-772A-4C36-BDD0-2AEA3F437D1F}" presName="childText" presStyleLbl="revTx" presStyleIdx="0" presStyleCnt="2">
        <dgm:presLayoutVars>
          <dgm:bulletEnabled val="1"/>
        </dgm:presLayoutVars>
      </dgm:prSet>
      <dgm:spPr/>
    </dgm:pt>
    <dgm:pt modelId="{BF5CC69C-AB2F-4C50-8B0A-B250A6DFC5DA}" type="pres">
      <dgm:prSet presAssocID="{EBEBAC0F-E81A-4837-BC74-877F05C477E7}" presName="parentText" presStyleLbl="node1" presStyleIdx="1" presStyleCnt="2">
        <dgm:presLayoutVars>
          <dgm:chMax val="0"/>
          <dgm:bulletEnabled val="1"/>
        </dgm:presLayoutVars>
      </dgm:prSet>
      <dgm:spPr/>
    </dgm:pt>
    <dgm:pt modelId="{19BF634A-98D8-4801-8C83-4EB8A444225E}" type="pres">
      <dgm:prSet presAssocID="{EBEBAC0F-E81A-4837-BC74-877F05C477E7}" presName="childText" presStyleLbl="revTx" presStyleIdx="1" presStyleCnt="2">
        <dgm:presLayoutVars>
          <dgm:bulletEnabled val="1"/>
        </dgm:presLayoutVars>
      </dgm:prSet>
      <dgm:spPr/>
    </dgm:pt>
  </dgm:ptLst>
  <dgm:cxnLst>
    <dgm:cxn modelId="{21B49504-4A8A-4AAB-95B4-1427A2605486}" type="presOf" srcId="{EBEBAC0F-E81A-4837-BC74-877F05C477E7}" destId="{BF5CC69C-AB2F-4C50-8B0A-B250A6DFC5DA}" srcOrd="0" destOrd="0" presId="urn:microsoft.com/office/officeart/2005/8/layout/vList2"/>
    <dgm:cxn modelId="{25F49B04-6F64-432D-B4FB-D4026E9ECF9F}" srcId="{EBEBAC0F-E81A-4837-BC74-877F05C477E7}" destId="{D7C4D328-DA8F-4F55-B840-B62DC113D3B2}" srcOrd="1" destOrd="0" parTransId="{FD4D897C-C2F2-4D1A-B3AD-6FF820C2A487}" sibTransId="{7B75D339-AB24-49C6-A30F-F91C5C0B7AC9}"/>
    <dgm:cxn modelId="{E97FED07-828F-48F8-9B8D-FADE7A93D2D0}" srcId="{EBEBAC0F-E81A-4837-BC74-877F05C477E7}" destId="{B13E4771-35DB-4FF9-AAAA-95707E2B59E0}" srcOrd="2" destOrd="0" parTransId="{27AD06D0-FFBB-4F0A-8AE3-B84444EEB820}" sibTransId="{F4ABE700-58B2-4D9E-8AF8-94919ED2B5C9}"/>
    <dgm:cxn modelId="{941CA10D-3330-4267-9C37-0EEAEFCA6463}" srcId="{EBEBAC0F-E81A-4837-BC74-877F05C477E7}" destId="{83BF6A80-1849-4606-9187-9EB49E2DD082}" srcOrd="0" destOrd="0" parTransId="{CA8FB9A8-A520-40CD-B04E-2E990314D94F}" sibTransId="{2A16EF3D-64A9-4FBE-8CE3-03557DCA291A}"/>
    <dgm:cxn modelId="{9B24EF16-8561-4CE1-B479-2AA80C1F1E9A}" type="presOf" srcId="{3A4C31ED-F133-42F3-A48C-255985EBB7E5}" destId="{2CE60CE3-C912-4F04-A89A-7FA5103BBEEC}" srcOrd="0" destOrd="0" presId="urn:microsoft.com/office/officeart/2005/8/layout/vList2"/>
    <dgm:cxn modelId="{3340032D-2DF1-4C45-8EEA-2821D624F6EB}" type="presOf" srcId="{D7C4D328-DA8F-4F55-B840-B62DC113D3B2}" destId="{19BF634A-98D8-4801-8C83-4EB8A444225E}" srcOrd="0" destOrd="1" presId="urn:microsoft.com/office/officeart/2005/8/layout/vList2"/>
    <dgm:cxn modelId="{16E96242-35D4-4D4B-B563-352034A2C08E}" srcId="{FD220F3B-772A-4C36-BDD0-2AEA3F437D1F}" destId="{75268365-68D6-43A3-852C-4D2D08AD9A0F}" srcOrd="1" destOrd="0" parTransId="{41971B48-D5FA-4BA9-ABF4-80C641F20533}" sibTransId="{9F66A8CB-301E-4FD4-8104-CBB5996CB680}"/>
    <dgm:cxn modelId="{16787F53-FBA9-4142-9F85-44CAED6E59AB}" srcId="{982641C2-A094-4D38-BB11-407AFC90E4AC}" destId="{EBEBAC0F-E81A-4837-BC74-877F05C477E7}" srcOrd="1" destOrd="0" parTransId="{F30BC659-B96B-42F3-8FBB-DC9D0EC3ABBD}" sibTransId="{ADFE51AE-E8CE-4A10-9CA6-B3985CA8BBA1}"/>
    <dgm:cxn modelId="{F56FB791-794C-4823-B6FE-F326906BC343}" type="presOf" srcId="{83BF6A80-1849-4606-9187-9EB49E2DD082}" destId="{19BF634A-98D8-4801-8C83-4EB8A444225E}" srcOrd="0" destOrd="0" presId="urn:microsoft.com/office/officeart/2005/8/layout/vList2"/>
    <dgm:cxn modelId="{F5B06C94-DFBF-40F1-9189-683E3C5D24DC}" type="presOf" srcId="{FD220F3B-772A-4C36-BDD0-2AEA3F437D1F}" destId="{E6AA28EE-A740-4EBA-847A-0D85A18312D3}" srcOrd="0" destOrd="0" presId="urn:microsoft.com/office/officeart/2005/8/layout/vList2"/>
    <dgm:cxn modelId="{2C4DFDA9-AB97-4089-82DC-9F73CE1CAF3D}" type="presOf" srcId="{B13E4771-35DB-4FF9-AAAA-95707E2B59E0}" destId="{19BF634A-98D8-4801-8C83-4EB8A444225E}" srcOrd="0" destOrd="2" presId="urn:microsoft.com/office/officeart/2005/8/layout/vList2"/>
    <dgm:cxn modelId="{B6EF01AE-9B4B-48E0-A8A0-5CFEEAC2EC2B}" srcId="{982641C2-A094-4D38-BB11-407AFC90E4AC}" destId="{FD220F3B-772A-4C36-BDD0-2AEA3F437D1F}" srcOrd="0" destOrd="0" parTransId="{27771F95-0827-477E-8DA1-5D24772282F8}" sibTransId="{E817510F-3E1F-487E-8505-246DF7991E37}"/>
    <dgm:cxn modelId="{A2B69EB5-14D7-46F5-A354-113C90231164}" type="presOf" srcId="{982641C2-A094-4D38-BB11-407AFC90E4AC}" destId="{D026C20D-032F-4B31-AA25-6E9A47807F4F}" srcOrd="0" destOrd="0" presId="urn:microsoft.com/office/officeart/2005/8/layout/vList2"/>
    <dgm:cxn modelId="{DF286DBE-21D4-4C38-8D18-3F02D732F5D9}" type="presOf" srcId="{75268365-68D6-43A3-852C-4D2D08AD9A0F}" destId="{2CE60CE3-C912-4F04-A89A-7FA5103BBEEC}" srcOrd="0" destOrd="1" presId="urn:microsoft.com/office/officeart/2005/8/layout/vList2"/>
    <dgm:cxn modelId="{F60101D5-6A67-4DC7-A027-DBFE2B0C9C1C}" srcId="{FD220F3B-772A-4C36-BDD0-2AEA3F437D1F}" destId="{3A4C31ED-F133-42F3-A48C-255985EBB7E5}" srcOrd="0" destOrd="0" parTransId="{644AA738-A873-475F-8B77-A745F9253755}" sibTransId="{4593E642-12CB-4A4D-8005-F26C0012D299}"/>
    <dgm:cxn modelId="{B1161C94-237F-43A2-B550-BFC6D948E81A}" type="presParOf" srcId="{D026C20D-032F-4B31-AA25-6E9A47807F4F}" destId="{E6AA28EE-A740-4EBA-847A-0D85A18312D3}" srcOrd="0" destOrd="0" presId="urn:microsoft.com/office/officeart/2005/8/layout/vList2"/>
    <dgm:cxn modelId="{CF212B3F-30BC-4DD1-9163-7F6389AF6256}" type="presParOf" srcId="{D026C20D-032F-4B31-AA25-6E9A47807F4F}" destId="{2CE60CE3-C912-4F04-A89A-7FA5103BBEEC}" srcOrd="1" destOrd="0" presId="urn:microsoft.com/office/officeart/2005/8/layout/vList2"/>
    <dgm:cxn modelId="{14C589C5-8066-4E2F-BD5C-93294E16D45C}" type="presParOf" srcId="{D026C20D-032F-4B31-AA25-6E9A47807F4F}" destId="{BF5CC69C-AB2F-4C50-8B0A-B250A6DFC5DA}" srcOrd="2" destOrd="0" presId="urn:microsoft.com/office/officeart/2005/8/layout/vList2"/>
    <dgm:cxn modelId="{5DB4CEF0-EA2B-49DE-B51E-92DB336FF66D}" type="presParOf" srcId="{D026C20D-032F-4B31-AA25-6E9A47807F4F}" destId="{19BF634A-98D8-4801-8C83-4EB8A444225E}" srcOrd="3"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A0CCC32-A2BA-4430-96A1-7EBD24F56F0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37E32DF9-130D-41E5-BFEB-792187DF4F96}">
      <dgm:prSet custT="1"/>
      <dgm:spPr/>
      <dgm:t>
        <a:bodyPr/>
        <a:lstStyle/>
        <a:p>
          <a:r>
            <a:rPr lang="en-US" sz="2800" baseline="0" dirty="0"/>
            <a:t>Encrypted sensitive data and corresponding keys are never seen in plain text in SQL Server</a:t>
          </a:r>
          <a:endParaRPr lang="en-US" sz="2800" dirty="0"/>
        </a:p>
      </dgm:t>
    </dgm:pt>
    <dgm:pt modelId="{D0ECBF1F-3C47-4016-AD8B-B474C5CE2BC7}" type="parTrans" cxnId="{0903F8DD-BF29-4AD4-BFC7-21312FA401E6}">
      <dgm:prSet/>
      <dgm:spPr/>
      <dgm:t>
        <a:bodyPr/>
        <a:lstStyle/>
        <a:p>
          <a:endParaRPr lang="en-US"/>
        </a:p>
      </dgm:t>
    </dgm:pt>
    <dgm:pt modelId="{6CFEDA76-A655-414A-9A9D-AE01DD83C1A9}" type="sibTrans" cxnId="{0903F8DD-BF29-4AD4-BFC7-21312FA401E6}">
      <dgm:prSet/>
      <dgm:spPr/>
      <dgm:t>
        <a:bodyPr/>
        <a:lstStyle/>
        <a:p>
          <a:endParaRPr lang="en-US"/>
        </a:p>
      </dgm:t>
    </dgm:pt>
    <dgm:pt modelId="{016ED03E-D1E8-4C40-88CD-68A2B98327B5}" type="pres">
      <dgm:prSet presAssocID="{EA0CCC32-A2BA-4430-96A1-7EBD24F56F09}" presName="linear" presStyleCnt="0">
        <dgm:presLayoutVars>
          <dgm:animLvl val="lvl"/>
          <dgm:resizeHandles val="exact"/>
        </dgm:presLayoutVars>
      </dgm:prSet>
      <dgm:spPr/>
    </dgm:pt>
    <dgm:pt modelId="{F1DE416B-2E15-4CC7-9AAD-33F4C7338192}" type="pres">
      <dgm:prSet presAssocID="{37E32DF9-130D-41E5-BFEB-792187DF4F96}" presName="parentText" presStyleLbl="node1" presStyleIdx="0" presStyleCnt="1" custScaleX="98147" custLinFactNeighborX="365">
        <dgm:presLayoutVars>
          <dgm:chMax val="0"/>
          <dgm:bulletEnabled val="1"/>
        </dgm:presLayoutVars>
      </dgm:prSet>
      <dgm:spPr/>
    </dgm:pt>
  </dgm:ptLst>
  <dgm:cxnLst>
    <dgm:cxn modelId="{BF718C1A-D182-4732-9F4D-61F40F3EB85F}" type="presOf" srcId="{EA0CCC32-A2BA-4430-96A1-7EBD24F56F09}" destId="{016ED03E-D1E8-4C40-88CD-68A2B98327B5}" srcOrd="0" destOrd="0" presId="urn:microsoft.com/office/officeart/2005/8/layout/vList2"/>
    <dgm:cxn modelId="{52EF67B4-23F0-4A07-ACBD-02486BA41EE1}" type="presOf" srcId="{37E32DF9-130D-41E5-BFEB-792187DF4F96}" destId="{F1DE416B-2E15-4CC7-9AAD-33F4C7338192}" srcOrd="0" destOrd="0" presId="urn:microsoft.com/office/officeart/2005/8/layout/vList2"/>
    <dgm:cxn modelId="{0903F8DD-BF29-4AD4-BFC7-21312FA401E6}" srcId="{EA0CCC32-A2BA-4430-96A1-7EBD24F56F09}" destId="{37E32DF9-130D-41E5-BFEB-792187DF4F96}" srcOrd="0" destOrd="0" parTransId="{D0ECBF1F-3C47-4016-AD8B-B474C5CE2BC7}" sibTransId="{6CFEDA76-A655-414A-9A9D-AE01DD83C1A9}"/>
    <dgm:cxn modelId="{AE482894-788C-419C-AD1C-3A67CD39A8BF}" type="presParOf" srcId="{016ED03E-D1E8-4C40-88CD-68A2B98327B5}" destId="{F1DE416B-2E15-4CC7-9AAD-33F4C7338192}"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6F305C-11A1-4B73-B3D3-7ECCC41A69C2}">
      <dsp:nvSpPr>
        <dsp:cNvPr id="0" name=""/>
        <dsp:cNvSpPr/>
      </dsp:nvSpPr>
      <dsp:spPr>
        <a:xfrm>
          <a:off x="1279350" y="744"/>
          <a:ext cx="3244713" cy="1946828"/>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Reversible obfuscation of data</a:t>
          </a:r>
        </a:p>
      </dsp:txBody>
      <dsp:txXfrm>
        <a:off x="1279350" y="744"/>
        <a:ext cx="3244713" cy="1946828"/>
      </dsp:txXfrm>
    </dsp:sp>
    <dsp:sp modelId="{779218CC-57E0-48DC-B35D-596C557C3C2C}">
      <dsp:nvSpPr>
        <dsp:cNvPr id="0" name=""/>
        <dsp:cNvSpPr/>
      </dsp:nvSpPr>
      <dsp:spPr>
        <a:xfrm>
          <a:off x="4848535" y="744"/>
          <a:ext cx="3244713" cy="1946828"/>
        </a:xfrm>
        <a:prstGeom prst="rect">
          <a:avLst/>
        </a:prstGeom>
        <a:solidFill>
          <a:schemeClr val="accent2">
            <a:hueOff val="-889166"/>
            <a:satOff val="18461"/>
            <a:lumOff val="19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Reversal depends on a key</a:t>
          </a:r>
        </a:p>
      </dsp:txBody>
      <dsp:txXfrm>
        <a:off x="4848535" y="744"/>
        <a:ext cx="3244713" cy="1946828"/>
      </dsp:txXfrm>
    </dsp:sp>
    <dsp:sp modelId="{69AE3E3C-D9B7-487E-8390-D385CF44AC03}">
      <dsp:nvSpPr>
        <dsp:cNvPr id="0" name=""/>
        <dsp:cNvSpPr/>
      </dsp:nvSpPr>
      <dsp:spPr>
        <a:xfrm>
          <a:off x="1279350" y="2272044"/>
          <a:ext cx="3244713" cy="1946828"/>
        </a:xfrm>
        <a:prstGeom prst="rect">
          <a:avLst/>
        </a:prstGeom>
        <a:solidFill>
          <a:schemeClr val="accent2">
            <a:hueOff val="-1778331"/>
            <a:satOff val="36921"/>
            <a:lumOff val="39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Plaintext is encrypted using an encryption algorithm to generate ciphertext</a:t>
          </a:r>
        </a:p>
      </dsp:txBody>
      <dsp:txXfrm>
        <a:off x="1279350" y="2272044"/>
        <a:ext cx="3244713" cy="1946828"/>
      </dsp:txXfrm>
    </dsp:sp>
    <dsp:sp modelId="{7A7E7ACF-3C70-4723-92C7-997B24E85407}">
      <dsp:nvSpPr>
        <dsp:cNvPr id="0" name=""/>
        <dsp:cNvSpPr/>
      </dsp:nvSpPr>
      <dsp:spPr>
        <a:xfrm>
          <a:off x="4848535" y="2272044"/>
          <a:ext cx="3244713" cy="1946828"/>
        </a:xfrm>
        <a:prstGeom prst="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Only part of an overall security plan</a:t>
          </a:r>
        </a:p>
      </dsp:txBody>
      <dsp:txXfrm>
        <a:off x="4848535" y="2272044"/>
        <a:ext cx="3244713" cy="194682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4F064C-D75D-431F-AF5F-C212318068FC}">
      <dsp:nvSpPr>
        <dsp:cNvPr id="0" name=""/>
        <dsp:cNvSpPr/>
      </dsp:nvSpPr>
      <dsp:spPr>
        <a:xfrm>
          <a:off x="0" y="798784"/>
          <a:ext cx="11097333" cy="147467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2A99ECB-D415-48A1-A5AC-000E06F26E19}">
      <dsp:nvSpPr>
        <dsp:cNvPr id="0" name=""/>
        <dsp:cNvSpPr/>
      </dsp:nvSpPr>
      <dsp:spPr>
        <a:xfrm>
          <a:off x="446090" y="1130587"/>
          <a:ext cx="811073" cy="81107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E8C3F74-E1FE-403A-8AE0-36381D5F90A6}">
      <dsp:nvSpPr>
        <dsp:cNvPr id="0" name=""/>
        <dsp:cNvSpPr/>
      </dsp:nvSpPr>
      <dsp:spPr>
        <a:xfrm>
          <a:off x="1703254" y="798784"/>
          <a:ext cx="4993799" cy="14746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070" tIns="156070" rIns="156070" bIns="156070" numCol="1" spcCol="1270" anchor="ctr" anchorCtr="0">
          <a:noAutofit/>
        </a:bodyPr>
        <a:lstStyle/>
        <a:p>
          <a:pPr marL="0" lvl="0" indent="0" algn="l" defTabSz="977900">
            <a:lnSpc>
              <a:spcPct val="100000"/>
            </a:lnSpc>
            <a:spcBef>
              <a:spcPct val="0"/>
            </a:spcBef>
            <a:spcAft>
              <a:spcPct val="35000"/>
            </a:spcAft>
            <a:buNone/>
          </a:pPr>
          <a:r>
            <a:rPr lang="en-US" sz="2200" kern="1200" baseline="0" dirty="0"/>
            <a:t>CMK – Column Master Key is used to encrypt other keys, always in client’s control, and in an external key store</a:t>
          </a:r>
          <a:endParaRPr lang="en-US" sz="2200" kern="1200" dirty="0"/>
        </a:p>
      </dsp:txBody>
      <dsp:txXfrm>
        <a:off x="1703254" y="798784"/>
        <a:ext cx="4993799" cy="1474679"/>
      </dsp:txXfrm>
    </dsp:sp>
    <dsp:sp modelId="{B93A0E3B-9CBD-4978-9C35-A6A680EFC60F}">
      <dsp:nvSpPr>
        <dsp:cNvPr id="0" name=""/>
        <dsp:cNvSpPr/>
      </dsp:nvSpPr>
      <dsp:spPr>
        <a:xfrm>
          <a:off x="6697054" y="798784"/>
          <a:ext cx="4400278" cy="1474679"/>
        </a:xfrm>
        <a:prstGeom prst="rect">
          <a:avLst/>
        </a:prstGeom>
        <a:noFill/>
        <a:ln w="28575">
          <a:solidFill>
            <a:schemeClr val="accent3">
              <a:lumMod val="75000"/>
            </a:schemeClr>
          </a:solidFill>
        </a:ln>
        <a:effectLst/>
      </dsp:spPr>
      <dsp:style>
        <a:lnRef idx="0">
          <a:scrgbClr r="0" g="0" b="0"/>
        </a:lnRef>
        <a:fillRef idx="0">
          <a:scrgbClr r="0" g="0" b="0"/>
        </a:fillRef>
        <a:effectRef idx="0">
          <a:scrgbClr r="0" g="0" b="0"/>
        </a:effectRef>
        <a:fontRef idx="minor"/>
      </dsp:style>
      <dsp:txBody>
        <a:bodyPr spcFirstLastPara="0" vert="horz" wrap="square" lIns="156070" tIns="156070" rIns="156070" bIns="156070" numCol="1" spcCol="1270" anchor="ctr" anchorCtr="0">
          <a:noAutofit/>
        </a:bodyPr>
        <a:lstStyle/>
        <a:p>
          <a:pPr marL="0" lvl="0" indent="0" algn="l" defTabSz="755650">
            <a:lnSpc>
              <a:spcPct val="100000"/>
            </a:lnSpc>
            <a:spcBef>
              <a:spcPct val="0"/>
            </a:spcBef>
            <a:spcAft>
              <a:spcPct val="35000"/>
            </a:spcAft>
            <a:buNone/>
          </a:pPr>
          <a:r>
            <a:rPr lang="en-US" sz="1700" kern="1200" baseline="0" dirty="0"/>
            <a:t>Azure Key Vault</a:t>
          </a:r>
        </a:p>
        <a:p>
          <a:pPr marL="0" lvl="0" indent="0" algn="l" defTabSz="755650">
            <a:lnSpc>
              <a:spcPct val="100000"/>
            </a:lnSpc>
            <a:spcBef>
              <a:spcPct val="0"/>
            </a:spcBef>
            <a:spcAft>
              <a:spcPct val="35000"/>
            </a:spcAft>
            <a:buNone/>
          </a:pPr>
          <a:r>
            <a:rPr lang="en-US" sz="1700" kern="1200" baseline="0" dirty="0"/>
            <a:t>Windows Certificate Store</a:t>
          </a:r>
          <a:endParaRPr lang="en-US" sz="1700" kern="1200" dirty="0"/>
        </a:p>
        <a:p>
          <a:pPr marL="0" lvl="0" indent="0" algn="l" defTabSz="755650">
            <a:lnSpc>
              <a:spcPct val="100000"/>
            </a:lnSpc>
            <a:spcBef>
              <a:spcPct val="0"/>
            </a:spcBef>
            <a:spcAft>
              <a:spcPct val="35000"/>
            </a:spcAft>
            <a:buNone/>
          </a:pPr>
          <a:r>
            <a:rPr lang="en-US" sz="1700" kern="1200" baseline="0" dirty="0"/>
            <a:t>Hardware Security Sections </a:t>
          </a:r>
          <a:endParaRPr lang="en-US" sz="1700" kern="1200" dirty="0"/>
        </a:p>
      </dsp:txBody>
      <dsp:txXfrm>
        <a:off x="6697054" y="798784"/>
        <a:ext cx="4400278" cy="1474679"/>
      </dsp:txXfrm>
    </dsp:sp>
    <dsp:sp modelId="{D7A8E28B-4B10-441F-94DC-EEEC3E8A1220}">
      <dsp:nvSpPr>
        <dsp:cNvPr id="0" name=""/>
        <dsp:cNvSpPr/>
      </dsp:nvSpPr>
      <dsp:spPr>
        <a:xfrm>
          <a:off x="0" y="2642133"/>
          <a:ext cx="11097333" cy="147467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48817B1-3F17-4E3A-8FC9-C119429CBD41}">
      <dsp:nvSpPr>
        <dsp:cNvPr id="0" name=""/>
        <dsp:cNvSpPr/>
      </dsp:nvSpPr>
      <dsp:spPr>
        <a:xfrm>
          <a:off x="446090" y="2973936"/>
          <a:ext cx="811073" cy="811073"/>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B31B38B-81EA-425B-9E82-CBAEBC7DD2A0}">
      <dsp:nvSpPr>
        <dsp:cNvPr id="0" name=""/>
        <dsp:cNvSpPr/>
      </dsp:nvSpPr>
      <dsp:spPr>
        <a:xfrm>
          <a:off x="1703254" y="2642133"/>
          <a:ext cx="9394078" cy="14746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070" tIns="156070" rIns="156070" bIns="156070" numCol="1" spcCol="1270" anchor="ctr" anchorCtr="0">
          <a:noAutofit/>
        </a:bodyPr>
        <a:lstStyle/>
        <a:p>
          <a:pPr marL="0" lvl="0" indent="0" algn="l" defTabSz="977900">
            <a:lnSpc>
              <a:spcPct val="100000"/>
            </a:lnSpc>
            <a:spcBef>
              <a:spcPct val="0"/>
            </a:spcBef>
            <a:spcAft>
              <a:spcPct val="35000"/>
            </a:spcAft>
            <a:buNone/>
          </a:pPr>
          <a:r>
            <a:rPr lang="en-US" sz="2200" kern="1200" baseline="0"/>
            <a:t>CEK – Column Encryption Key is a content encryption key</a:t>
          </a:r>
          <a:endParaRPr lang="en-US" sz="2200" kern="1200"/>
        </a:p>
      </dsp:txBody>
      <dsp:txXfrm>
        <a:off x="1703254" y="2642133"/>
        <a:ext cx="9394078" cy="1474679"/>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F4F28F-5A40-4446-B73F-24FA8C091425}">
      <dsp:nvSpPr>
        <dsp:cNvPr id="0" name=""/>
        <dsp:cNvSpPr/>
      </dsp:nvSpPr>
      <dsp:spPr>
        <a:xfrm>
          <a:off x="1083" y="1794780"/>
          <a:ext cx="2331090" cy="899800"/>
        </a:xfrm>
        <a:prstGeom prst="chevron">
          <a:avLst>
            <a:gd name="adj" fmla="val 4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37ED223-C7C6-40C2-8A61-02C658CF3A2F}">
      <dsp:nvSpPr>
        <dsp:cNvPr id="0" name=""/>
        <dsp:cNvSpPr/>
      </dsp:nvSpPr>
      <dsp:spPr>
        <a:xfrm>
          <a:off x="493407" y="1818445"/>
          <a:ext cx="2227074" cy="1302371"/>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dirty="0"/>
            <a:t>Generate CEKs and master key</a:t>
          </a:r>
          <a:endParaRPr lang="en-US" sz="2400" kern="1200" dirty="0"/>
        </a:p>
      </dsp:txBody>
      <dsp:txXfrm>
        <a:off x="531552" y="1856590"/>
        <a:ext cx="2150784" cy="1226081"/>
      </dsp:txXfrm>
    </dsp:sp>
    <dsp:sp modelId="{5342529E-9947-4A14-8F56-492B85601A2B}">
      <dsp:nvSpPr>
        <dsp:cNvPr id="0" name=""/>
        <dsp:cNvSpPr/>
      </dsp:nvSpPr>
      <dsp:spPr>
        <a:xfrm>
          <a:off x="2793005" y="1794780"/>
          <a:ext cx="2331090" cy="899800"/>
        </a:xfrm>
        <a:prstGeom prst="chevron">
          <a:avLst>
            <a:gd name="adj" fmla="val 40000"/>
          </a:avLst>
        </a:prstGeom>
        <a:solidFill>
          <a:schemeClr val="accent2">
            <a:hueOff val="-889166"/>
            <a:satOff val="18461"/>
            <a:lumOff val="19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67DA84-B66B-491D-A739-E7FDB8FE7E68}">
      <dsp:nvSpPr>
        <dsp:cNvPr id="0" name=""/>
        <dsp:cNvSpPr/>
      </dsp:nvSpPr>
      <dsp:spPr>
        <a:xfrm>
          <a:off x="3285330" y="1818445"/>
          <a:ext cx="2227074" cy="1302371"/>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889166"/>
              <a:satOff val="18461"/>
              <a:lumOff val="19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a:t>Encrypt CEK</a:t>
          </a:r>
          <a:endParaRPr lang="en-US" sz="2400" kern="1200"/>
        </a:p>
      </dsp:txBody>
      <dsp:txXfrm>
        <a:off x="3323475" y="1856590"/>
        <a:ext cx="2150784" cy="1226081"/>
      </dsp:txXfrm>
    </dsp:sp>
    <dsp:sp modelId="{7F6E88C1-BE67-45F6-900E-E4740C34D4F6}">
      <dsp:nvSpPr>
        <dsp:cNvPr id="0" name=""/>
        <dsp:cNvSpPr/>
      </dsp:nvSpPr>
      <dsp:spPr>
        <a:xfrm>
          <a:off x="5584927" y="1794780"/>
          <a:ext cx="2331090" cy="899800"/>
        </a:xfrm>
        <a:prstGeom prst="chevron">
          <a:avLst>
            <a:gd name="adj" fmla="val 40000"/>
          </a:avLst>
        </a:prstGeom>
        <a:solidFill>
          <a:schemeClr val="accent2">
            <a:hueOff val="-1778331"/>
            <a:satOff val="36921"/>
            <a:lumOff val="39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99870CB-525E-4B98-B3BF-BFFC0EBA3FD8}">
      <dsp:nvSpPr>
        <dsp:cNvPr id="0" name=""/>
        <dsp:cNvSpPr/>
      </dsp:nvSpPr>
      <dsp:spPr>
        <a:xfrm>
          <a:off x="6077252" y="1818445"/>
          <a:ext cx="2227074" cy="1302371"/>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1778331"/>
              <a:satOff val="36921"/>
              <a:lumOff val="39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a:t>Store master key securely</a:t>
          </a:r>
          <a:endParaRPr lang="en-US" sz="2400" kern="1200"/>
        </a:p>
      </dsp:txBody>
      <dsp:txXfrm>
        <a:off x="6115397" y="1856590"/>
        <a:ext cx="2150784" cy="1226081"/>
      </dsp:txXfrm>
    </dsp:sp>
    <dsp:sp modelId="{4D485240-D5B2-44FE-BA3F-37ACB8DECDD1}">
      <dsp:nvSpPr>
        <dsp:cNvPr id="0" name=""/>
        <dsp:cNvSpPr/>
      </dsp:nvSpPr>
      <dsp:spPr>
        <a:xfrm>
          <a:off x="8376850" y="1794780"/>
          <a:ext cx="2331090" cy="899800"/>
        </a:xfrm>
        <a:prstGeom prst="chevron">
          <a:avLst>
            <a:gd name="adj" fmla="val 40000"/>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47C43F3-21FD-4F8F-964A-6B8096F5114A}">
      <dsp:nvSpPr>
        <dsp:cNvPr id="0" name=""/>
        <dsp:cNvSpPr/>
      </dsp:nvSpPr>
      <dsp:spPr>
        <a:xfrm>
          <a:off x="8869174" y="1818445"/>
          <a:ext cx="2227074" cy="1302371"/>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2667497"/>
              <a:satOff val="55382"/>
              <a:lumOff val="58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a:t>Upload encrypted CEK to DB</a:t>
          </a:r>
          <a:endParaRPr lang="en-US" sz="2400" kern="1200"/>
        </a:p>
      </dsp:txBody>
      <dsp:txXfrm>
        <a:off x="8907319" y="1856590"/>
        <a:ext cx="2150784" cy="122608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6C7B29-5E29-475E-8D25-05B3DF5F7EF1}">
      <dsp:nvSpPr>
        <dsp:cNvPr id="0" name=""/>
        <dsp:cNvSpPr/>
      </dsp:nvSpPr>
      <dsp:spPr>
        <a:xfrm>
          <a:off x="0" y="73151"/>
          <a:ext cx="11506200" cy="77220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a:t>Randomized</a:t>
          </a:r>
        </a:p>
      </dsp:txBody>
      <dsp:txXfrm>
        <a:off x="37696" y="110847"/>
        <a:ext cx="11430808" cy="696808"/>
      </dsp:txXfrm>
    </dsp:sp>
    <dsp:sp modelId="{347DDF72-833B-4D71-9AB8-B1CAECC008C2}">
      <dsp:nvSpPr>
        <dsp:cNvPr id="0" name=""/>
        <dsp:cNvSpPr/>
      </dsp:nvSpPr>
      <dsp:spPr>
        <a:xfrm>
          <a:off x="0" y="845351"/>
          <a:ext cx="11506200" cy="1304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5322"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US" sz="2300" kern="1200"/>
            <a:t>Unpredictable results, more secure</a:t>
          </a:r>
        </a:p>
        <a:p>
          <a:pPr marL="228600" lvl="1" indent="-228600" algn="l" defTabSz="1022350">
            <a:lnSpc>
              <a:spcPct val="90000"/>
            </a:lnSpc>
            <a:spcBef>
              <a:spcPct val="0"/>
            </a:spcBef>
            <a:spcAft>
              <a:spcPct val="20000"/>
            </a:spcAft>
            <a:buChar char="•"/>
          </a:pPr>
          <a:r>
            <a:rPr lang="en-US" sz="2300" kern="1200"/>
            <a:t>No support for equality searches, joins, grouping, or indexing</a:t>
          </a:r>
        </a:p>
        <a:p>
          <a:pPr marL="228600" lvl="1" indent="-228600" algn="l" defTabSz="1022350">
            <a:lnSpc>
              <a:spcPct val="90000"/>
            </a:lnSpc>
            <a:spcBef>
              <a:spcPct val="0"/>
            </a:spcBef>
            <a:spcAft>
              <a:spcPct val="20000"/>
            </a:spcAft>
            <a:buChar char="•"/>
          </a:pPr>
          <a:r>
            <a:rPr lang="en-US" sz="2300" kern="1200"/>
            <a:t>Use for data that is returned, but not queried</a:t>
          </a:r>
        </a:p>
      </dsp:txBody>
      <dsp:txXfrm>
        <a:off x="0" y="845351"/>
        <a:ext cx="11506200" cy="1304100"/>
      </dsp:txXfrm>
    </dsp:sp>
    <dsp:sp modelId="{60288A71-040D-49F0-9C9C-D3A0AF3A1D2D}">
      <dsp:nvSpPr>
        <dsp:cNvPr id="0" name=""/>
        <dsp:cNvSpPr/>
      </dsp:nvSpPr>
      <dsp:spPr>
        <a:xfrm>
          <a:off x="0" y="2149452"/>
          <a:ext cx="11506200" cy="772200"/>
        </a:xfrm>
        <a:prstGeom prst="roundRect">
          <a:avLst/>
        </a:prstGeom>
        <a:solidFill>
          <a:schemeClr val="accent3">
            <a:hueOff val="2017870"/>
            <a:satOff val="0"/>
            <a:lumOff val="1000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a:t>Deterministic</a:t>
          </a:r>
        </a:p>
      </dsp:txBody>
      <dsp:txXfrm>
        <a:off x="37696" y="2187148"/>
        <a:ext cx="11430808" cy="696808"/>
      </dsp:txXfrm>
    </dsp:sp>
    <dsp:sp modelId="{15059464-07DD-4E25-9393-A670A9C95EF8}">
      <dsp:nvSpPr>
        <dsp:cNvPr id="0" name=""/>
        <dsp:cNvSpPr/>
      </dsp:nvSpPr>
      <dsp:spPr>
        <a:xfrm>
          <a:off x="0" y="2921652"/>
          <a:ext cx="11506200" cy="1738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5322"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US" sz="2300" kern="1200"/>
            <a:t>Predictable results, less secure</a:t>
          </a:r>
        </a:p>
        <a:p>
          <a:pPr marL="228600" lvl="1" indent="-228600" algn="l" defTabSz="1022350">
            <a:lnSpc>
              <a:spcPct val="90000"/>
            </a:lnSpc>
            <a:spcBef>
              <a:spcPct val="0"/>
            </a:spcBef>
            <a:spcAft>
              <a:spcPct val="20000"/>
            </a:spcAft>
            <a:buChar char="•"/>
          </a:pPr>
          <a:r>
            <a:rPr lang="en-US" sz="2300" kern="1200"/>
            <a:t>Use for data that must be queried (equality support only)</a:t>
          </a:r>
        </a:p>
        <a:p>
          <a:pPr marL="228600" lvl="1" indent="-228600" algn="l" defTabSz="1022350">
            <a:lnSpc>
              <a:spcPct val="90000"/>
            </a:lnSpc>
            <a:spcBef>
              <a:spcPct val="0"/>
            </a:spcBef>
            <a:spcAft>
              <a:spcPct val="20000"/>
            </a:spcAft>
            <a:buChar char="•"/>
          </a:pPr>
          <a:r>
            <a:rPr lang="en-US" sz="2300" kern="1200"/>
            <a:t>Easier to guess by examining encryption results</a:t>
          </a:r>
        </a:p>
        <a:p>
          <a:pPr marL="457200" lvl="2" indent="-228600" algn="l" defTabSz="1022350">
            <a:lnSpc>
              <a:spcPct val="90000"/>
            </a:lnSpc>
            <a:spcBef>
              <a:spcPct val="0"/>
            </a:spcBef>
            <a:spcAft>
              <a:spcPct val="20000"/>
            </a:spcAft>
            <a:buChar char="•"/>
          </a:pPr>
          <a:r>
            <a:rPr lang="en-US" sz="2300" kern="1200"/>
            <a:t>Increased risk for small value sets (True/False)</a:t>
          </a:r>
        </a:p>
      </dsp:txBody>
      <dsp:txXfrm>
        <a:off x="0" y="2921652"/>
        <a:ext cx="11506200" cy="173880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EA4895-6922-438E-872C-0271BF342164}">
      <dsp:nvSpPr>
        <dsp:cNvPr id="0" name=""/>
        <dsp:cNvSpPr/>
      </dsp:nvSpPr>
      <dsp:spPr>
        <a:xfrm>
          <a:off x="0" y="1071943"/>
          <a:ext cx="2894956"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71120" rIns="199136" bIns="71120" numCol="1" spcCol="1270" anchor="ctr" anchorCtr="0">
          <a:noAutofit/>
        </a:bodyPr>
        <a:lstStyle/>
        <a:p>
          <a:pPr marL="0" lvl="0" indent="0" algn="r" defTabSz="1244600">
            <a:lnSpc>
              <a:spcPct val="90000"/>
            </a:lnSpc>
            <a:spcBef>
              <a:spcPct val="0"/>
            </a:spcBef>
            <a:spcAft>
              <a:spcPct val="35000"/>
            </a:spcAft>
            <a:buNone/>
          </a:pPr>
          <a:r>
            <a:rPr lang="en-US" sz="2800" kern="1200" baseline="0" dirty="0"/>
            <a:t>Randomized encryption</a:t>
          </a:r>
          <a:endParaRPr lang="en-US" sz="2800" kern="1200" dirty="0"/>
        </a:p>
      </dsp:txBody>
      <dsp:txXfrm>
        <a:off x="0" y="1071943"/>
        <a:ext cx="2894956" cy="1287000"/>
      </dsp:txXfrm>
    </dsp:sp>
    <dsp:sp modelId="{EA84DBCB-411A-489A-8BFF-1C659C6DADF3}">
      <dsp:nvSpPr>
        <dsp:cNvPr id="0" name=""/>
        <dsp:cNvSpPr/>
      </dsp:nvSpPr>
      <dsp:spPr>
        <a:xfrm>
          <a:off x="2894956" y="1071943"/>
          <a:ext cx="578991" cy="1287000"/>
        </a:xfrm>
        <a:prstGeom prst="leftBrace">
          <a:avLst>
            <a:gd name="adj1" fmla="val 35000"/>
            <a:gd name="adj2" fmla="val 50000"/>
          </a:avLst>
        </a:prstGeom>
        <a:noFill/>
        <a:ln w="10795"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3D9BE4E-E4D6-424E-9F61-C8B937AD3192}">
      <dsp:nvSpPr>
        <dsp:cNvPr id="0" name=""/>
        <dsp:cNvSpPr/>
      </dsp:nvSpPr>
      <dsp:spPr>
        <a:xfrm>
          <a:off x="3705543" y="1071943"/>
          <a:ext cx="7874281" cy="1287000"/>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285750" lvl="1" indent="-285750" algn="l" defTabSz="1244600">
            <a:lnSpc>
              <a:spcPct val="90000"/>
            </a:lnSpc>
            <a:spcBef>
              <a:spcPct val="0"/>
            </a:spcBef>
            <a:spcAft>
              <a:spcPct val="15000"/>
            </a:spcAft>
            <a:buChar char="•"/>
          </a:pPr>
          <a:r>
            <a:rPr lang="en-US" sz="2800" kern="1200" baseline="0" dirty="0"/>
            <a:t>Encrypt (‘123-45-6789’) = 0x0123A99C</a:t>
          </a:r>
          <a:endParaRPr lang="en-US" sz="2800" kern="1200" dirty="0"/>
        </a:p>
        <a:p>
          <a:pPr marL="285750" lvl="1" indent="-285750" algn="l" defTabSz="1244600">
            <a:lnSpc>
              <a:spcPct val="90000"/>
            </a:lnSpc>
            <a:spcBef>
              <a:spcPct val="0"/>
            </a:spcBef>
            <a:spcAft>
              <a:spcPct val="15000"/>
            </a:spcAft>
            <a:buChar char="•"/>
          </a:pPr>
          <a:r>
            <a:rPr lang="en-US" sz="2800" kern="1200" baseline="0" dirty="0"/>
            <a:t>Repeat: Encrypt (‘123-45-6789’) = 0x01EB449B</a:t>
          </a:r>
          <a:endParaRPr lang="en-US" sz="2800" kern="1200" dirty="0"/>
        </a:p>
      </dsp:txBody>
      <dsp:txXfrm>
        <a:off x="3705543" y="1071943"/>
        <a:ext cx="7874281" cy="1287000"/>
      </dsp:txXfrm>
    </dsp:sp>
    <dsp:sp modelId="{A2E71D03-E925-49C5-9F53-45DBEB8DC6F8}">
      <dsp:nvSpPr>
        <dsp:cNvPr id="0" name=""/>
        <dsp:cNvSpPr/>
      </dsp:nvSpPr>
      <dsp:spPr>
        <a:xfrm>
          <a:off x="0" y="2592943"/>
          <a:ext cx="2894956"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71120" rIns="199136" bIns="71120" numCol="1" spcCol="1270" anchor="ctr" anchorCtr="0">
          <a:noAutofit/>
        </a:bodyPr>
        <a:lstStyle/>
        <a:p>
          <a:pPr marL="0" lvl="0" indent="0" algn="r" defTabSz="1244600">
            <a:lnSpc>
              <a:spcPct val="90000"/>
            </a:lnSpc>
            <a:spcBef>
              <a:spcPct val="0"/>
            </a:spcBef>
            <a:spcAft>
              <a:spcPct val="35000"/>
            </a:spcAft>
            <a:buNone/>
          </a:pPr>
          <a:r>
            <a:rPr lang="en-US" sz="2800" kern="1200" baseline="0"/>
            <a:t>Deterministic encryption</a:t>
          </a:r>
          <a:endParaRPr lang="en-US" sz="2800" kern="1200"/>
        </a:p>
      </dsp:txBody>
      <dsp:txXfrm>
        <a:off x="0" y="2592943"/>
        <a:ext cx="2894956" cy="1287000"/>
      </dsp:txXfrm>
    </dsp:sp>
    <dsp:sp modelId="{B04C8C7A-2CD6-4840-8A28-C625F7CBF6E1}">
      <dsp:nvSpPr>
        <dsp:cNvPr id="0" name=""/>
        <dsp:cNvSpPr/>
      </dsp:nvSpPr>
      <dsp:spPr>
        <a:xfrm>
          <a:off x="2894956" y="2592943"/>
          <a:ext cx="578991" cy="1287000"/>
        </a:xfrm>
        <a:prstGeom prst="leftBrace">
          <a:avLst>
            <a:gd name="adj1" fmla="val 35000"/>
            <a:gd name="adj2" fmla="val 50000"/>
          </a:avLst>
        </a:prstGeom>
        <a:noFill/>
        <a:ln w="10795"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D317EF0-CD9D-4942-9CDC-F01CEDD46E3A}">
      <dsp:nvSpPr>
        <dsp:cNvPr id="0" name=""/>
        <dsp:cNvSpPr/>
      </dsp:nvSpPr>
      <dsp:spPr>
        <a:xfrm>
          <a:off x="3705543" y="2592943"/>
          <a:ext cx="7874281" cy="128700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285750" lvl="1" indent="-285750" algn="l" defTabSz="1244600">
            <a:lnSpc>
              <a:spcPct val="90000"/>
            </a:lnSpc>
            <a:spcBef>
              <a:spcPct val="0"/>
            </a:spcBef>
            <a:spcAft>
              <a:spcPct val="15000"/>
            </a:spcAft>
            <a:buChar char="•"/>
          </a:pPr>
          <a:r>
            <a:rPr lang="en-US" sz="2800" kern="1200" baseline="0" dirty="0"/>
            <a:t>Encrypt (‘123-45-6789’) = 0x17cfd50a</a:t>
          </a:r>
          <a:endParaRPr lang="en-US" sz="2800" kern="1200" dirty="0"/>
        </a:p>
        <a:p>
          <a:pPr marL="285750" lvl="1" indent="-285750" algn="l" defTabSz="1244600">
            <a:lnSpc>
              <a:spcPct val="90000"/>
            </a:lnSpc>
            <a:spcBef>
              <a:spcPct val="0"/>
            </a:spcBef>
            <a:spcAft>
              <a:spcPct val="15000"/>
            </a:spcAft>
            <a:buChar char="•"/>
          </a:pPr>
          <a:r>
            <a:rPr lang="en-US" sz="2800" kern="1200" baseline="0" dirty="0"/>
            <a:t>Repeat: Encrypt (‘123-45-6789’) = 0x17cfd50a</a:t>
          </a:r>
          <a:endParaRPr lang="en-US" sz="2800" kern="1200" dirty="0"/>
        </a:p>
      </dsp:txBody>
      <dsp:txXfrm>
        <a:off x="3705543" y="2592943"/>
        <a:ext cx="7874281" cy="128700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2C2FCE-6EB0-4C96-9930-D72458DCB76A}">
      <dsp:nvSpPr>
        <dsp:cNvPr id="0" name=""/>
        <dsp:cNvSpPr/>
      </dsp:nvSpPr>
      <dsp:spPr>
        <a:xfrm>
          <a:off x="0" y="798784"/>
          <a:ext cx="11097333" cy="147467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8345DF1-9FC5-4EB6-9C02-2374998C02EE}">
      <dsp:nvSpPr>
        <dsp:cNvPr id="0" name=""/>
        <dsp:cNvSpPr/>
      </dsp:nvSpPr>
      <dsp:spPr>
        <a:xfrm>
          <a:off x="446090" y="1130587"/>
          <a:ext cx="811073" cy="81107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DFF30FE-D08C-429E-8E22-88F9C16AF1F5}">
      <dsp:nvSpPr>
        <dsp:cNvPr id="0" name=""/>
        <dsp:cNvSpPr/>
      </dsp:nvSpPr>
      <dsp:spPr>
        <a:xfrm>
          <a:off x="1703254" y="798784"/>
          <a:ext cx="9394078" cy="14746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070" tIns="156070" rIns="156070" bIns="156070" numCol="1" spcCol="1270" anchor="ctr" anchorCtr="0">
          <a:noAutofit/>
        </a:bodyPr>
        <a:lstStyle/>
        <a:p>
          <a:pPr marL="0" lvl="0" indent="0" algn="l" defTabSz="1111250">
            <a:lnSpc>
              <a:spcPct val="90000"/>
            </a:lnSpc>
            <a:spcBef>
              <a:spcPct val="0"/>
            </a:spcBef>
            <a:spcAft>
              <a:spcPct val="35000"/>
            </a:spcAft>
            <a:buNone/>
          </a:pPr>
          <a:r>
            <a:rPr lang="en-US" sz="2500" kern="1200" dirty="0"/>
            <a:t>Always Encrypted uses the AEAD_AES_256_CBC_HMAC_SHA_256 algorithm to encrypt data in the database</a:t>
          </a:r>
        </a:p>
      </dsp:txBody>
      <dsp:txXfrm>
        <a:off x="1703254" y="798784"/>
        <a:ext cx="9394078" cy="1474679"/>
      </dsp:txXfrm>
    </dsp:sp>
    <dsp:sp modelId="{71278F28-C4D9-4153-B891-9C8C5B8BADC2}">
      <dsp:nvSpPr>
        <dsp:cNvPr id="0" name=""/>
        <dsp:cNvSpPr/>
      </dsp:nvSpPr>
      <dsp:spPr>
        <a:xfrm>
          <a:off x="0" y="2642133"/>
          <a:ext cx="11097333" cy="147467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CC87A88-551E-4272-B70E-F9752AD1B432}">
      <dsp:nvSpPr>
        <dsp:cNvPr id="0" name=""/>
        <dsp:cNvSpPr/>
      </dsp:nvSpPr>
      <dsp:spPr>
        <a:xfrm>
          <a:off x="446090" y="2973936"/>
          <a:ext cx="811073" cy="81107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585D174-F583-42FD-8618-84136D49E6EE}">
      <dsp:nvSpPr>
        <dsp:cNvPr id="0" name=""/>
        <dsp:cNvSpPr/>
      </dsp:nvSpPr>
      <dsp:spPr>
        <a:xfrm>
          <a:off x="1703254" y="2642133"/>
          <a:ext cx="9394078" cy="14746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070" tIns="156070" rIns="156070" bIns="156070" numCol="1" spcCol="1270" anchor="ctr" anchorCtr="0">
          <a:noAutofit/>
        </a:bodyPr>
        <a:lstStyle/>
        <a:p>
          <a:pPr marL="0" lvl="0" indent="0" algn="l" defTabSz="1111250">
            <a:lnSpc>
              <a:spcPct val="90000"/>
            </a:lnSpc>
            <a:spcBef>
              <a:spcPct val="0"/>
            </a:spcBef>
            <a:spcAft>
              <a:spcPct val="35000"/>
            </a:spcAft>
            <a:buNone/>
          </a:pPr>
          <a:r>
            <a:rPr lang="en-US" sz="2500" kern="1200"/>
            <a:t>Ciphertext length varies depends on the data type</a:t>
          </a:r>
        </a:p>
      </dsp:txBody>
      <dsp:txXfrm>
        <a:off x="1703254" y="2642133"/>
        <a:ext cx="9394078" cy="1474679"/>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121F13-F451-4A97-9C58-D93EB270D134}">
      <dsp:nvSpPr>
        <dsp:cNvPr id="0" name=""/>
        <dsp:cNvSpPr/>
      </dsp:nvSpPr>
      <dsp:spPr>
        <a:xfrm>
          <a:off x="0" y="600"/>
          <a:ext cx="11097333" cy="140411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E00289B-ECB8-419D-811A-7EFDDF8A34DA}">
      <dsp:nvSpPr>
        <dsp:cNvPr id="0" name=""/>
        <dsp:cNvSpPr/>
      </dsp:nvSpPr>
      <dsp:spPr>
        <a:xfrm>
          <a:off x="424744" y="316525"/>
          <a:ext cx="772262" cy="77226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3C419C8-2560-4B9B-B8DF-49EF4FD90FF0}">
      <dsp:nvSpPr>
        <dsp:cNvPr id="0" name=""/>
        <dsp:cNvSpPr/>
      </dsp:nvSpPr>
      <dsp:spPr>
        <a:xfrm>
          <a:off x="1621750" y="600"/>
          <a:ext cx="9475582" cy="14041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8602" tIns="148602" rIns="148602" bIns="148602" numCol="1" spcCol="1270" anchor="ctr" anchorCtr="0">
          <a:noAutofit/>
        </a:bodyPr>
        <a:lstStyle/>
        <a:p>
          <a:pPr marL="0" lvl="0" indent="0" algn="l" defTabSz="1111250">
            <a:lnSpc>
              <a:spcPct val="100000"/>
            </a:lnSpc>
            <a:spcBef>
              <a:spcPct val="0"/>
            </a:spcBef>
            <a:spcAft>
              <a:spcPct val="35000"/>
            </a:spcAft>
            <a:buNone/>
          </a:pPr>
          <a:r>
            <a:rPr lang="en-US" sz="2500" kern="1200" baseline="0" dirty="0"/>
            <a:t>Use designated user accounts with this option for long-running workloads</a:t>
          </a:r>
          <a:endParaRPr lang="en-US" sz="2500" kern="1200" dirty="0"/>
        </a:p>
      </dsp:txBody>
      <dsp:txXfrm>
        <a:off x="1621750" y="600"/>
        <a:ext cx="9475582" cy="1404113"/>
      </dsp:txXfrm>
    </dsp:sp>
    <dsp:sp modelId="{F11DFAF5-CBA7-4B8D-A39F-176DCA91368D}">
      <dsp:nvSpPr>
        <dsp:cNvPr id="0" name=""/>
        <dsp:cNvSpPr/>
      </dsp:nvSpPr>
      <dsp:spPr>
        <a:xfrm>
          <a:off x="0" y="1755741"/>
          <a:ext cx="11097333" cy="140411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63F00F5-4C54-47FE-B3A8-0C6A1845F396}">
      <dsp:nvSpPr>
        <dsp:cNvPr id="0" name=""/>
        <dsp:cNvSpPr/>
      </dsp:nvSpPr>
      <dsp:spPr>
        <a:xfrm>
          <a:off x="424744" y="2071667"/>
          <a:ext cx="772262" cy="772262"/>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A27F36A-CA93-4264-921D-5C622A087D54}">
      <dsp:nvSpPr>
        <dsp:cNvPr id="0" name=""/>
        <dsp:cNvSpPr/>
      </dsp:nvSpPr>
      <dsp:spPr>
        <a:xfrm>
          <a:off x="1621750" y="1755741"/>
          <a:ext cx="9475582" cy="14041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8602" tIns="148602" rIns="148602" bIns="148602" numCol="1" spcCol="1270" anchor="ctr" anchorCtr="0">
          <a:noAutofit/>
        </a:bodyPr>
        <a:lstStyle/>
        <a:p>
          <a:pPr marL="0" lvl="0" indent="0" algn="l" defTabSz="1111250">
            <a:lnSpc>
              <a:spcPct val="100000"/>
            </a:lnSpc>
            <a:spcBef>
              <a:spcPct val="0"/>
            </a:spcBef>
            <a:spcAft>
              <a:spcPct val="35000"/>
            </a:spcAft>
            <a:buNone/>
          </a:pPr>
          <a:r>
            <a:rPr lang="en-US" sz="2500" kern="1200" baseline="0"/>
            <a:t>Short-running bulk copy operations that move data without decrypting it, set option to ON and back to OFF after completion</a:t>
          </a:r>
          <a:endParaRPr lang="en-US" sz="2500" kern="1200"/>
        </a:p>
      </dsp:txBody>
      <dsp:txXfrm>
        <a:off x="1621750" y="1755741"/>
        <a:ext cx="9475582" cy="1404113"/>
      </dsp:txXfrm>
    </dsp:sp>
    <dsp:sp modelId="{45A59FE9-0A29-4A1F-9D89-DE45CFA01180}">
      <dsp:nvSpPr>
        <dsp:cNvPr id="0" name=""/>
        <dsp:cNvSpPr/>
      </dsp:nvSpPr>
      <dsp:spPr>
        <a:xfrm>
          <a:off x="0" y="3510883"/>
          <a:ext cx="11097333" cy="140411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911B59A-8FA0-43B3-AC00-A213FB709256}">
      <dsp:nvSpPr>
        <dsp:cNvPr id="0" name=""/>
        <dsp:cNvSpPr/>
      </dsp:nvSpPr>
      <dsp:spPr>
        <a:xfrm>
          <a:off x="424744" y="3826809"/>
          <a:ext cx="772262" cy="77226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8AB9A7B-99C6-4724-A686-6CF8E6E03034}">
      <dsp:nvSpPr>
        <dsp:cNvPr id="0" name=""/>
        <dsp:cNvSpPr/>
      </dsp:nvSpPr>
      <dsp:spPr>
        <a:xfrm>
          <a:off x="1621750" y="3510883"/>
          <a:ext cx="9475582" cy="14041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8602" tIns="148602" rIns="148602" bIns="148602" numCol="1" spcCol="1270" anchor="ctr" anchorCtr="0">
          <a:noAutofit/>
        </a:bodyPr>
        <a:lstStyle/>
        <a:p>
          <a:pPr marL="0" lvl="0" indent="0" algn="l" defTabSz="1111250">
            <a:lnSpc>
              <a:spcPct val="100000"/>
            </a:lnSpc>
            <a:spcBef>
              <a:spcPct val="0"/>
            </a:spcBef>
            <a:spcAft>
              <a:spcPct val="35000"/>
            </a:spcAft>
            <a:buNone/>
          </a:pPr>
          <a:r>
            <a:rPr lang="en-US" sz="2500" kern="1200" baseline="0"/>
            <a:t>Do not use this option for new applications, use client drivers that offers API for suppressing cryptographic metadata checks</a:t>
          </a:r>
          <a:endParaRPr lang="en-US" sz="2500" kern="1200"/>
        </a:p>
      </dsp:txBody>
      <dsp:txXfrm>
        <a:off x="1621750" y="3510883"/>
        <a:ext cx="9475582" cy="1404113"/>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C1939D-0AA3-482A-BAB4-3BEDB381CBE5}">
      <dsp:nvSpPr>
        <dsp:cNvPr id="0" name=""/>
        <dsp:cNvSpPr/>
      </dsp:nvSpPr>
      <dsp:spPr>
        <a:xfrm>
          <a:off x="0" y="2040"/>
          <a:ext cx="11097332" cy="103400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8B2AE7-04C4-44CB-ADC7-BC5BFCBE07E6}">
      <dsp:nvSpPr>
        <dsp:cNvPr id="0" name=""/>
        <dsp:cNvSpPr/>
      </dsp:nvSpPr>
      <dsp:spPr>
        <a:xfrm>
          <a:off x="312786" y="234690"/>
          <a:ext cx="568701" cy="568701"/>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F294B92-D22B-4B26-A875-E011E5C052A6}">
      <dsp:nvSpPr>
        <dsp:cNvPr id="0" name=""/>
        <dsp:cNvSpPr/>
      </dsp:nvSpPr>
      <dsp:spPr>
        <a:xfrm>
          <a:off x="1194274" y="2040"/>
          <a:ext cx="9903057" cy="10340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9432" tIns="109432" rIns="109432" bIns="109432" numCol="1" spcCol="1270" anchor="ctr" anchorCtr="0">
          <a:noAutofit/>
        </a:bodyPr>
        <a:lstStyle/>
        <a:p>
          <a:pPr marL="0" lvl="0" indent="0" algn="l" defTabSz="977900">
            <a:lnSpc>
              <a:spcPct val="100000"/>
            </a:lnSpc>
            <a:spcBef>
              <a:spcPct val="0"/>
            </a:spcBef>
            <a:spcAft>
              <a:spcPct val="35000"/>
            </a:spcAft>
            <a:buNone/>
          </a:pPr>
          <a:r>
            <a:rPr lang="en-US" sz="2200" b="0" kern="1200" baseline="0"/>
            <a:t>Ability to perform equality comparison on columns encrypted using deterministic encryption</a:t>
          </a:r>
          <a:endParaRPr lang="en-US" sz="2200" b="0" kern="1200"/>
        </a:p>
      </dsp:txBody>
      <dsp:txXfrm>
        <a:off x="1194274" y="2040"/>
        <a:ext cx="9903057" cy="1034003"/>
      </dsp:txXfrm>
    </dsp:sp>
    <dsp:sp modelId="{9C2996C0-D2D2-4DCD-BCE7-6A8F18620148}">
      <dsp:nvSpPr>
        <dsp:cNvPr id="0" name=""/>
        <dsp:cNvSpPr/>
      </dsp:nvSpPr>
      <dsp:spPr>
        <a:xfrm>
          <a:off x="0" y="1294544"/>
          <a:ext cx="11097332" cy="103400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072E377-C360-4DD6-BD80-A34925FA939C}">
      <dsp:nvSpPr>
        <dsp:cNvPr id="0" name=""/>
        <dsp:cNvSpPr/>
      </dsp:nvSpPr>
      <dsp:spPr>
        <a:xfrm>
          <a:off x="312786" y="1527195"/>
          <a:ext cx="568701" cy="56870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5A59715-08C7-4776-BE92-8E4BB2BEF93A}">
      <dsp:nvSpPr>
        <dsp:cNvPr id="0" name=""/>
        <dsp:cNvSpPr/>
      </dsp:nvSpPr>
      <dsp:spPr>
        <a:xfrm>
          <a:off x="1194274" y="1294544"/>
          <a:ext cx="4993799" cy="10340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9432" tIns="109432" rIns="109432" bIns="109432" numCol="1" spcCol="1270" anchor="ctr" anchorCtr="0">
          <a:noAutofit/>
        </a:bodyPr>
        <a:lstStyle/>
        <a:p>
          <a:pPr marL="0" lvl="0" indent="0" algn="l" defTabSz="977900">
            <a:lnSpc>
              <a:spcPct val="100000"/>
            </a:lnSpc>
            <a:spcBef>
              <a:spcPct val="0"/>
            </a:spcBef>
            <a:spcAft>
              <a:spcPct val="35000"/>
            </a:spcAft>
            <a:buNone/>
          </a:pPr>
          <a:r>
            <a:rPr lang="en-US" sz="2200" b="0" kern="1200" baseline="0"/>
            <a:t>Cannot query columns encrypted using randomized encryption</a:t>
          </a:r>
          <a:endParaRPr lang="en-US" sz="2200" b="0" kern="1200"/>
        </a:p>
      </dsp:txBody>
      <dsp:txXfrm>
        <a:off x="1194274" y="1294544"/>
        <a:ext cx="4993799" cy="1034003"/>
      </dsp:txXfrm>
    </dsp:sp>
    <dsp:sp modelId="{126FAE5C-E91B-4C40-8D7B-2374B83B7601}">
      <dsp:nvSpPr>
        <dsp:cNvPr id="0" name=""/>
        <dsp:cNvSpPr/>
      </dsp:nvSpPr>
      <dsp:spPr>
        <a:xfrm>
          <a:off x="6188073" y="1294544"/>
          <a:ext cx="4909258" cy="1034003"/>
        </a:xfrm>
        <a:prstGeom prst="rect">
          <a:avLst/>
        </a:prstGeom>
        <a:noFill/>
        <a:ln>
          <a:solidFill>
            <a:schemeClr val="accent3"/>
          </a:solidFill>
        </a:ln>
        <a:effectLst/>
      </dsp:spPr>
      <dsp:style>
        <a:lnRef idx="0">
          <a:scrgbClr r="0" g="0" b="0"/>
        </a:lnRef>
        <a:fillRef idx="0">
          <a:scrgbClr r="0" g="0" b="0"/>
        </a:fillRef>
        <a:effectRef idx="0">
          <a:scrgbClr r="0" g="0" b="0"/>
        </a:effectRef>
        <a:fontRef idx="minor"/>
      </dsp:style>
      <dsp:txBody>
        <a:bodyPr spcFirstLastPara="0" vert="horz" wrap="square" lIns="109432" tIns="109432" rIns="109432" bIns="109432" numCol="1" spcCol="1270" anchor="ctr" anchorCtr="0">
          <a:noAutofit/>
        </a:bodyPr>
        <a:lstStyle/>
        <a:p>
          <a:pPr marL="0" lvl="0" indent="0" algn="l" defTabSz="711200">
            <a:lnSpc>
              <a:spcPct val="100000"/>
            </a:lnSpc>
            <a:spcBef>
              <a:spcPct val="0"/>
            </a:spcBef>
            <a:spcAft>
              <a:spcPct val="35000"/>
            </a:spcAft>
            <a:buNone/>
          </a:pPr>
          <a:r>
            <a:rPr lang="en-US" sz="1600" kern="1200" baseline="0" dirty="0"/>
            <a:t>Indexing columns encrypted using randomized encryption is not supported</a:t>
          </a:r>
          <a:endParaRPr lang="en-US" sz="1600" kern="1200" dirty="0"/>
        </a:p>
      </dsp:txBody>
      <dsp:txXfrm>
        <a:off x="6188073" y="1294544"/>
        <a:ext cx="4909258" cy="1034003"/>
      </dsp:txXfrm>
    </dsp:sp>
    <dsp:sp modelId="{8B997DB4-CE5A-407B-9A70-2DE35EE746C1}">
      <dsp:nvSpPr>
        <dsp:cNvPr id="0" name=""/>
        <dsp:cNvSpPr/>
      </dsp:nvSpPr>
      <dsp:spPr>
        <a:xfrm>
          <a:off x="0" y="2587048"/>
          <a:ext cx="11097332" cy="103400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CDAE83-2856-4E08-B1D4-A571EF51E5CC}">
      <dsp:nvSpPr>
        <dsp:cNvPr id="0" name=""/>
        <dsp:cNvSpPr/>
      </dsp:nvSpPr>
      <dsp:spPr>
        <a:xfrm>
          <a:off x="312786" y="2819699"/>
          <a:ext cx="568701" cy="568701"/>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F99463C-8E21-4078-9B0E-0C5EE93ACD86}">
      <dsp:nvSpPr>
        <dsp:cNvPr id="0" name=""/>
        <dsp:cNvSpPr/>
      </dsp:nvSpPr>
      <dsp:spPr>
        <a:xfrm>
          <a:off x="1194274" y="2587048"/>
          <a:ext cx="4993799" cy="10340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9432" tIns="109432" rIns="109432" bIns="109432" numCol="1" spcCol="1270" anchor="ctr" anchorCtr="0">
          <a:noAutofit/>
        </a:bodyPr>
        <a:lstStyle/>
        <a:p>
          <a:pPr marL="0" lvl="0" indent="0" algn="l" defTabSz="977900">
            <a:lnSpc>
              <a:spcPct val="100000"/>
            </a:lnSpc>
            <a:spcBef>
              <a:spcPct val="0"/>
            </a:spcBef>
            <a:spcAft>
              <a:spcPct val="35000"/>
            </a:spcAft>
            <a:buNone/>
          </a:pPr>
          <a:r>
            <a:rPr lang="en-US" sz="2200" b="0" kern="1200" baseline="0"/>
            <a:t>Column encryption key can have up to two different encrypted values</a:t>
          </a:r>
          <a:endParaRPr lang="en-US" sz="2200" b="0" kern="1200"/>
        </a:p>
      </dsp:txBody>
      <dsp:txXfrm>
        <a:off x="1194274" y="2587048"/>
        <a:ext cx="4993799" cy="1034003"/>
      </dsp:txXfrm>
    </dsp:sp>
    <dsp:sp modelId="{A7A7C442-644D-4D64-946B-960EA978F3EC}">
      <dsp:nvSpPr>
        <dsp:cNvPr id="0" name=""/>
        <dsp:cNvSpPr/>
      </dsp:nvSpPr>
      <dsp:spPr>
        <a:xfrm>
          <a:off x="6188073" y="2587048"/>
          <a:ext cx="4909258" cy="1034003"/>
        </a:xfrm>
        <a:prstGeom prst="rect">
          <a:avLst/>
        </a:prstGeom>
        <a:noFill/>
        <a:ln>
          <a:solidFill>
            <a:schemeClr val="accent3"/>
          </a:solidFill>
        </a:ln>
        <a:effectLst/>
      </dsp:spPr>
      <dsp:style>
        <a:lnRef idx="0">
          <a:scrgbClr r="0" g="0" b="0"/>
        </a:lnRef>
        <a:fillRef idx="0">
          <a:scrgbClr r="0" g="0" b="0"/>
        </a:fillRef>
        <a:effectRef idx="0">
          <a:scrgbClr r="0" g="0" b="0"/>
        </a:effectRef>
        <a:fontRef idx="minor"/>
      </dsp:style>
      <dsp:txBody>
        <a:bodyPr spcFirstLastPara="0" vert="horz" wrap="square" lIns="109432" tIns="109432" rIns="109432" bIns="109432" numCol="1" spcCol="1270" anchor="ctr" anchorCtr="0">
          <a:noAutofit/>
        </a:bodyPr>
        <a:lstStyle/>
        <a:p>
          <a:pPr marL="0" lvl="0" indent="0" algn="l" defTabSz="711200">
            <a:lnSpc>
              <a:spcPct val="100000"/>
            </a:lnSpc>
            <a:spcBef>
              <a:spcPct val="0"/>
            </a:spcBef>
            <a:spcAft>
              <a:spcPct val="35000"/>
            </a:spcAft>
            <a:buNone/>
          </a:pPr>
          <a:r>
            <a:rPr lang="en-US" sz="1600" kern="1200" baseline="0" dirty="0"/>
            <a:t>Query parameters that map to encrypted columns must be passed as driver-level parameters </a:t>
          </a:r>
          <a:endParaRPr lang="en-US" sz="1600" kern="1200" dirty="0"/>
        </a:p>
      </dsp:txBody>
      <dsp:txXfrm>
        <a:off x="6188073" y="2587048"/>
        <a:ext cx="4909258" cy="1034003"/>
      </dsp:txXfrm>
    </dsp:sp>
    <dsp:sp modelId="{76F1C5BE-0FB1-42C9-A876-FC7A0AFF0B61}">
      <dsp:nvSpPr>
        <dsp:cNvPr id="0" name=""/>
        <dsp:cNvSpPr/>
      </dsp:nvSpPr>
      <dsp:spPr>
        <a:xfrm>
          <a:off x="0" y="3879553"/>
          <a:ext cx="11097332" cy="103400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40D65FA-AE91-4E65-885A-CC4AD2346639}">
      <dsp:nvSpPr>
        <dsp:cNvPr id="0" name=""/>
        <dsp:cNvSpPr/>
      </dsp:nvSpPr>
      <dsp:spPr>
        <a:xfrm>
          <a:off x="312786" y="4112204"/>
          <a:ext cx="568701" cy="5687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0C180BC-3A2E-4DDB-ADB8-6244D283EE02}">
      <dsp:nvSpPr>
        <dsp:cNvPr id="0" name=""/>
        <dsp:cNvSpPr/>
      </dsp:nvSpPr>
      <dsp:spPr>
        <a:xfrm>
          <a:off x="1194274" y="3879553"/>
          <a:ext cx="9903057" cy="10340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9432" tIns="109432" rIns="109432" bIns="109432" numCol="1" spcCol="1270" anchor="ctr" anchorCtr="0">
          <a:noAutofit/>
        </a:bodyPr>
        <a:lstStyle/>
        <a:p>
          <a:pPr marL="0" lvl="0" indent="0" algn="l" defTabSz="977900">
            <a:lnSpc>
              <a:spcPct val="100000"/>
            </a:lnSpc>
            <a:spcBef>
              <a:spcPct val="0"/>
            </a:spcBef>
            <a:spcAft>
              <a:spcPct val="35000"/>
            </a:spcAft>
            <a:buNone/>
          </a:pPr>
          <a:r>
            <a:rPr lang="en-US" sz="2200" b="0" kern="1200" baseline="0"/>
            <a:t>Deterministic encryption requires a column to have one of binary2 collations</a:t>
          </a:r>
          <a:endParaRPr lang="en-US" sz="2200" b="0" kern="1200"/>
        </a:p>
      </dsp:txBody>
      <dsp:txXfrm>
        <a:off x="1194274" y="3879553"/>
        <a:ext cx="9903057" cy="1034003"/>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A3035E-4550-4E1B-98D0-6711C3578068}">
      <dsp:nvSpPr>
        <dsp:cNvPr id="0" name=""/>
        <dsp:cNvSpPr/>
      </dsp:nvSpPr>
      <dsp:spPr>
        <a:xfrm>
          <a:off x="0" y="375198"/>
          <a:ext cx="11097333" cy="1197000"/>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1276" tIns="416560" rIns="861276"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xml, </a:t>
          </a:r>
          <a:r>
            <a:rPr lang="en-US" sz="2000" kern="1200" baseline="0" err="1"/>
            <a:t>hierarchyid</a:t>
          </a:r>
          <a:r>
            <a:rPr lang="en-US" sz="2000" kern="1200" baseline="0"/>
            <a:t>, </a:t>
          </a:r>
          <a:r>
            <a:rPr lang="en-US" sz="2000" kern="1200" baseline="0" err="1"/>
            <a:t>rowversion</a:t>
          </a:r>
          <a:r>
            <a:rPr lang="en-US" sz="2000" kern="1200" baseline="0"/>
            <a:t>, image, text, </a:t>
          </a:r>
          <a:r>
            <a:rPr lang="en-US" sz="2000" kern="1200" baseline="0" err="1"/>
            <a:t>ntext</a:t>
          </a:r>
          <a:r>
            <a:rPr lang="en-US" sz="2000" kern="1200" baseline="0"/>
            <a:t>, geography, geometry, user-defined types, or </a:t>
          </a:r>
          <a:r>
            <a:rPr lang="en-US" sz="2000" kern="1200" baseline="0" err="1"/>
            <a:t>sql_variant</a:t>
          </a:r>
          <a:endParaRPr lang="en-US" sz="2000" kern="1200"/>
        </a:p>
      </dsp:txBody>
      <dsp:txXfrm>
        <a:off x="0" y="375198"/>
        <a:ext cx="11097333" cy="1197000"/>
      </dsp:txXfrm>
    </dsp:sp>
    <dsp:sp modelId="{6306CD7C-63CF-43E8-9741-0106DEE891DF}">
      <dsp:nvSpPr>
        <dsp:cNvPr id="0" name=""/>
        <dsp:cNvSpPr/>
      </dsp:nvSpPr>
      <dsp:spPr>
        <a:xfrm>
          <a:off x="554866" y="79998"/>
          <a:ext cx="9680259" cy="590400"/>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93617" tIns="0" rIns="29361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Not supported when columns use any of these datatypes</a:t>
          </a:r>
          <a:endParaRPr lang="en-US" sz="2400" kern="1200" dirty="0"/>
        </a:p>
      </dsp:txBody>
      <dsp:txXfrm>
        <a:off x="583687" y="108819"/>
        <a:ext cx="9622617" cy="532758"/>
      </dsp:txXfrm>
    </dsp:sp>
    <dsp:sp modelId="{073BB653-6F43-4241-8F25-A2353636968E}">
      <dsp:nvSpPr>
        <dsp:cNvPr id="0" name=""/>
        <dsp:cNvSpPr/>
      </dsp:nvSpPr>
      <dsp:spPr>
        <a:xfrm>
          <a:off x="0" y="1975398"/>
          <a:ext cx="11097333" cy="1228500"/>
        </a:xfrm>
        <a:prstGeom prst="rect">
          <a:avLst/>
        </a:prstGeom>
        <a:solidFill>
          <a:schemeClr val="lt1">
            <a:alpha val="90000"/>
            <a:hueOff val="0"/>
            <a:satOff val="0"/>
            <a:lumOff val="0"/>
            <a:alphaOff val="0"/>
          </a:schemeClr>
        </a:solidFill>
        <a:ln w="10795" cap="flat" cmpd="sng" algn="ctr">
          <a:solidFill>
            <a:schemeClr val="accent2">
              <a:hueOff val="-1333748"/>
              <a:satOff val="27691"/>
              <a:lumOff val="29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1276" tIns="416560" rIns="861276"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FOR XML </a:t>
          </a:r>
          <a:endParaRPr lang="en-US" sz="2000" kern="1200"/>
        </a:p>
        <a:p>
          <a:pPr marL="228600" lvl="1" indent="-228600" algn="l" defTabSz="889000">
            <a:lnSpc>
              <a:spcPct val="90000"/>
            </a:lnSpc>
            <a:spcBef>
              <a:spcPct val="0"/>
            </a:spcBef>
            <a:spcAft>
              <a:spcPct val="15000"/>
            </a:spcAft>
            <a:buChar char="•"/>
          </a:pPr>
          <a:r>
            <a:rPr lang="en-US" sz="2000" kern="1200" baseline="0"/>
            <a:t>FOR JSON PATH</a:t>
          </a:r>
          <a:endParaRPr lang="en-US" sz="2000" kern="1200"/>
        </a:p>
      </dsp:txBody>
      <dsp:txXfrm>
        <a:off x="0" y="1975398"/>
        <a:ext cx="11097333" cy="1228500"/>
      </dsp:txXfrm>
    </dsp:sp>
    <dsp:sp modelId="{50EA6DEA-6355-49F2-8CDB-32F5F1EF41ED}">
      <dsp:nvSpPr>
        <dsp:cNvPr id="0" name=""/>
        <dsp:cNvSpPr/>
      </dsp:nvSpPr>
      <dsp:spPr>
        <a:xfrm>
          <a:off x="554866" y="1680198"/>
          <a:ext cx="9680259" cy="590400"/>
        </a:xfrm>
        <a:prstGeom prst="roundRect">
          <a:avLst/>
        </a:prstGeom>
        <a:solidFill>
          <a:schemeClr val="accent2">
            <a:hueOff val="-1333748"/>
            <a:satOff val="27691"/>
            <a:lumOff val="294"/>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93617" tIns="0" rIns="293617" bIns="0" numCol="1" spcCol="1270" anchor="ctr" anchorCtr="0">
          <a:noAutofit/>
        </a:bodyPr>
        <a:lstStyle/>
        <a:p>
          <a:pPr marL="0" lvl="0" indent="0" algn="l" defTabSz="1066800">
            <a:lnSpc>
              <a:spcPct val="90000"/>
            </a:lnSpc>
            <a:spcBef>
              <a:spcPct val="0"/>
            </a:spcBef>
            <a:spcAft>
              <a:spcPct val="35000"/>
            </a:spcAft>
            <a:buNone/>
          </a:pPr>
          <a:r>
            <a:rPr lang="en-US" sz="2400" kern="1200" baseline="0"/>
            <a:t>Clauses that cannot be used for encrypted columns</a:t>
          </a:r>
          <a:endParaRPr lang="en-US" sz="2400" kern="1200"/>
        </a:p>
      </dsp:txBody>
      <dsp:txXfrm>
        <a:off x="583687" y="1709019"/>
        <a:ext cx="9622617" cy="532758"/>
      </dsp:txXfrm>
    </dsp:sp>
    <dsp:sp modelId="{6EB5E983-7483-4768-827A-AE2B79CD8BAA}">
      <dsp:nvSpPr>
        <dsp:cNvPr id="0" name=""/>
        <dsp:cNvSpPr/>
      </dsp:nvSpPr>
      <dsp:spPr>
        <a:xfrm>
          <a:off x="0" y="3607098"/>
          <a:ext cx="11097333" cy="1228500"/>
        </a:xfrm>
        <a:prstGeom prst="rect">
          <a:avLst/>
        </a:prstGeom>
        <a:solidFill>
          <a:schemeClr val="lt1">
            <a:alpha val="90000"/>
            <a:hueOff val="0"/>
            <a:satOff val="0"/>
            <a:lumOff val="0"/>
            <a:alphaOff val="0"/>
          </a:schemeClr>
        </a:solidFill>
        <a:ln w="10795" cap="flat" cmpd="sng" algn="ctr">
          <a:solidFill>
            <a:schemeClr val="accent2">
              <a:hueOff val="-2667497"/>
              <a:satOff val="55382"/>
              <a:lumOff val="58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1276" tIns="416560" rIns="861276"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Transactional or merge replication</a:t>
          </a:r>
          <a:endParaRPr lang="en-US" sz="2000" kern="1200"/>
        </a:p>
        <a:p>
          <a:pPr marL="228600" lvl="1" indent="-228600" algn="l" defTabSz="889000">
            <a:lnSpc>
              <a:spcPct val="90000"/>
            </a:lnSpc>
            <a:spcBef>
              <a:spcPct val="0"/>
            </a:spcBef>
            <a:spcAft>
              <a:spcPct val="15000"/>
            </a:spcAft>
            <a:buChar char="•"/>
          </a:pPr>
          <a:r>
            <a:rPr lang="en-US" sz="2000" kern="1200" baseline="0"/>
            <a:t>Distributed queries (linked servers)</a:t>
          </a:r>
          <a:endParaRPr lang="en-US" sz="2000" kern="1200"/>
        </a:p>
      </dsp:txBody>
      <dsp:txXfrm>
        <a:off x="0" y="3607098"/>
        <a:ext cx="11097333" cy="1228500"/>
      </dsp:txXfrm>
    </dsp:sp>
    <dsp:sp modelId="{EFFD6812-716D-4A5D-9322-6B28E7DFD5B4}">
      <dsp:nvSpPr>
        <dsp:cNvPr id="0" name=""/>
        <dsp:cNvSpPr/>
      </dsp:nvSpPr>
      <dsp:spPr>
        <a:xfrm>
          <a:off x="554866" y="3311898"/>
          <a:ext cx="9680259" cy="590400"/>
        </a:xfrm>
        <a:prstGeom prst="roundRect">
          <a:avLst/>
        </a:prstGeom>
        <a:solidFill>
          <a:schemeClr val="accent2">
            <a:hueOff val="-2667497"/>
            <a:satOff val="55382"/>
            <a:lumOff val="588"/>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93617" tIns="0" rIns="293617" bIns="0" numCol="1" spcCol="1270" anchor="ctr" anchorCtr="0">
          <a:noAutofit/>
        </a:bodyPr>
        <a:lstStyle/>
        <a:p>
          <a:pPr marL="0" lvl="0" indent="0" algn="l" defTabSz="1066800">
            <a:lnSpc>
              <a:spcPct val="90000"/>
            </a:lnSpc>
            <a:spcBef>
              <a:spcPct val="0"/>
            </a:spcBef>
            <a:spcAft>
              <a:spcPct val="35000"/>
            </a:spcAft>
            <a:buNone/>
          </a:pPr>
          <a:r>
            <a:rPr lang="en-US" sz="2400" kern="1200" baseline="0"/>
            <a:t>Features that do not work on encrypted columns</a:t>
          </a:r>
          <a:endParaRPr lang="en-US" sz="2400" kern="1200"/>
        </a:p>
      </dsp:txBody>
      <dsp:txXfrm>
        <a:off x="583687" y="3340719"/>
        <a:ext cx="9622617" cy="532758"/>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D113F8-9ED2-4C8B-A5D9-270957FF8CC0}">
      <dsp:nvSpPr>
        <dsp:cNvPr id="0" name=""/>
        <dsp:cNvSpPr/>
      </dsp:nvSpPr>
      <dsp:spPr>
        <a:xfrm>
          <a:off x="0" y="406023"/>
          <a:ext cx="11097333" cy="2182950"/>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1276" tIns="458216" rIns="861276" bIns="156464" numCol="1" spcCol="1270" anchor="t" anchorCtr="0">
          <a:noAutofit/>
        </a:bodyPr>
        <a:lstStyle/>
        <a:p>
          <a:pPr marL="228600" lvl="1" indent="-228600" algn="l" defTabSz="977900">
            <a:lnSpc>
              <a:spcPct val="100000"/>
            </a:lnSpc>
            <a:spcBef>
              <a:spcPct val="0"/>
            </a:spcBef>
            <a:spcAft>
              <a:spcPct val="15000"/>
            </a:spcAft>
            <a:buChar char="•"/>
          </a:pPr>
          <a:r>
            <a:rPr lang="en-US" sz="2200" kern="1200" baseline="0"/>
            <a:t>Improper use of the option </a:t>
          </a:r>
          <a:r>
            <a:rPr lang="en-US" sz="2200" b="1" kern="1200" baseline="0"/>
            <a:t>ALLOW_ENCRYPTED_VALUE_MODIFICATIONS</a:t>
          </a:r>
          <a:endParaRPr lang="en-US" sz="2200" kern="1200"/>
        </a:p>
        <a:p>
          <a:pPr marL="228600" lvl="1" indent="-228600" algn="l" defTabSz="977900">
            <a:lnSpc>
              <a:spcPct val="100000"/>
            </a:lnSpc>
            <a:spcBef>
              <a:spcPct val="0"/>
            </a:spcBef>
            <a:spcAft>
              <a:spcPct val="15000"/>
            </a:spcAft>
            <a:buChar char="•"/>
          </a:pPr>
          <a:r>
            <a:rPr lang="en-US" sz="2200" kern="1200" baseline="0"/>
            <a:t>Accidentally copy data that is not correctly encrypted using the encryption scheme</a:t>
          </a:r>
          <a:endParaRPr lang="en-US" sz="2200" kern="1200"/>
        </a:p>
      </dsp:txBody>
      <dsp:txXfrm>
        <a:off x="0" y="406023"/>
        <a:ext cx="11097333" cy="2182950"/>
      </dsp:txXfrm>
    </dsp:sp>
    <dsp:sp modelId="{68DD7CD2-1364-430F-B51B-77C305F236DD}">
      <dsp:nvSpPr>
        <dsp:cNvPr id="0" name=""/>
        <dsp:cNvSpPr/>
      </dsp:nvSpPr>
      <dsp:spPr>
        <a:xfrm>
          <a:off x="554866" y="81303"/>
          <a:ext cx="7768133" cy="649440"/>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93617" tIns="0" rIns="293617" bIns="0" numCol="1" spcCol="1270" anchor="ctr" anchorCtr="0">
          <a:noAutofit/>
        </a:bodyPr>
        <a:lstStyle/>
        <a:p>
          <a:pPr marL="0" lvl="0" indent="0" algn="l" defTabSz="1066800">
            <a:lnSpc>
              <a:spcPct val="100000"/>
            </a:lnSpc>
            <a:spcBef>
              <a:spcPct val="0"/>
            </a:spcBef>
            <a:spcAft>
              <a:spcPct val="35000"/>
            </a:spcAft>
            <a:buNone/>
          </a:pPr>
          <a:r>
            <a:rPr lang="en-US" sz="2400" kern="1200" baseline="0"/>
            <a:t>Data corruption</a:t>
          </a:r>
          <a:endParaRPr lang="en-US" sz="2400" kern="1200"/>
        </a:p>
      </dsp:txBody>
      <dsp:txXfrm>
        <a:off x="586569" y="113006"/>
        <a:ext cx="7704727" cy="586034"/>
      </dsp:txXfrm>
    </dsp:sp>
    <dsp:sp modelId="{6BDCAA89-02E5-496D-A89A-5223E3A26367}">
      <dsp:nvSpPr>
        <dsp:cNvPr id="0" name=""/>
        <dsp:cNvSpPr/>
      </dsp:nvSpPr>
      <dsp:spPr>
        <a:xfrm>
          <a:off x="0" y="3032493"/>
          <a:ext cx="11097333" cy="1801800"/>
        </a:xfrm>
        <a:prstGeom prst="rect">
          <a:avLst/>
        </a:prstGeom>
        <a:solidFill>
          <a:schemeClr val="lt1">
            <a:alpha val="90000"/>
            <a:hueOff val="0"/>
            <a:satOff val="0"/>
            <a:lumOff val="0"/>
            <a:alphaOff val="0"/>
          </a:schemeClr>
        </a:solidFill>
        <a:ln w="10795" cap="flat" cmpd="sng" algn="ctr">
          <a:solidFill>
            <a:schemeClr val="accent2">
              <a:hueOff val="-2667497"/>
              <a:satOff val="55382"/>
              <a:lumOff val="58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1276" tIns="458216" rIns="861276" bIns="156464" numCol="1" spcCol="1270" anchor="t" anchorCtr="0">
          <a:noAutofit/>
        </a:bodyPr>
        <a:lstStyle/>
        <a:p>
          <a:pPr marL="228600" lvl="1" indent="-228600" algn="l" defTabSz="977900">
            <a:lnSpc>
              <a:spcPct val="100000"/>
            </a:lnSpc>
            <a:spcBef>
              <a:spcPct val="0"/>
            </a:spcBef>
            <a:spcAft>
              <a:spcPct val="15000"/>
            </a:spcAft>
            <a:buChar char="•"/>
          </a:pPr>
          <a:r>
            <a:rPr lang="en-US" sz="2200" kern="1200" baseline="0"/>
            <a:t>Always Encrypted is not supported in SQL Server Data Tools (SSDT)</a:t>
          </a:r>
          <a:endParaRPr lang="en-US" sz="2200" kern="1200"/>
        </a:p>
        <a:p>
          <a:pPr marL="228600" lvl="1" indent="-228600" algn="l" defTabSz="977900">
            <a:lnSpc>
              <a:spcPct val="100000"/>
            </a:lnSpc>
            <a:spcBef>
              <a:spcPct val="0"/>
            </a:spcBef>
            <a:spcAft>
              <a:spcPct val="15000"/>
            </a:spcAft>
            <a:buChar char="•"/>
          </a:pPr>
          <a:r>
            <a:rPr lang="en-US" sz="2200" kern="1200" baseline="0"/>
            <a:t>The only operations supported for databases using Always Encrypted in sqlpackage.exe are Export and Import </a:t>
          </a:r>
          <a:endParaRPr lang="en-US" sz="2200" kern="1200"/>
        </a:p>
      </dsp:txBody>
      <dsp:txXfrm>
        <a:off x="0" y="3032493"/>
        <a:ext cx="11097333" cy="1801800"/>
      </dsp:txXfrm>
    </dsp:sp>
    <dsp:sp modelId="{45E177D8-5216-4C25-A576-62CD0CD58BA8}">
      <dsp:nvSpPr>
        <dsp:cNvPr id="0" name=""/>
        <dsp:cNvSpPr/>
      </dsp:nvSpPr>
      <dsp:spPr>
        <a:xfrm>
          <a:off x="554866" y="2707773"/>
          <a:ext cx="7768133" cy="649440"/>
        </a:xfrm>
        <a:prstGeom prst="roundRect">
          <a:avLst/>
        </a:prstGeom>
        <a:solidFill>
          <a:schemeClr val="accent2">
            <a:hueOff val="-2667497"/>
            <a:satOff val="55382"/>
            <a:lumOff val="588"/>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93617" tIns="0" rIns="293617" bIns="0" numCol="1" spcCol="1270" anchor="ctr" anchorCtr="0">
          <a:noAutofit/>
        </a:bodyPr>
        <a:lstStyle/>
        <a:p>
          <a:pPr marL="0" lvl="0" indent="0" algn="l" defTabSz="1066800">
            <a:lnSpc>
              <a:spcPct val="100000"/>
            </a:lnSpc>
            <a:spcBef>
              <a:spcPct val="0"/>
            </a:spcBef>
            <a:spcAft>
              <a:spcPct val="35000"/>
            </a:spcAft>
            <a:buNone/>
          </a:pPr>
          <a:r>
            <a:rPr lang="en-US" sz="2400" kern="1200" baseline="0"/>
            <a:t>Tool limitations</a:t>
          </a:r>
          <a:endParaRPr lang="en-US" sz="2400" kern="1200"/>
        </a:p>
      </dsp:txBody>
      <dsp:txXfrm>
        <a:off x="586569" y="2739476"/>
        <a:ext cx="7704727" cy="586034"/>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BDFBD0-E69C-4C6D-B846-3035E9FF7151}">
      <dsp:nvSpPr>
        <dsp:cNvPr id="0" name=""/>
        <dsp:cNvSpPr/>
      </dsp:nvSpPr>
      <dsp:spPr>
        <a:xfrm rot="5400000">
          <a:off x="7072868" y="-2957038"/>
          <a:ext cx="946636" cy="7102293"/>
        </a:xfrm>
        <a:prstGeom prst="round2SameRect">
          <a:avLst/>
        </a:prstGeom>
        <a:solidFill>
          <a:schemeClr val="accent2">
            <a:tint val="40000"/>
            <a:alpha val="90000"/>
            <a:hueOff val="0"/>
            <a:satOff val="0"/>
            <a:lumOff val="0"/>
            <a:alphaOff val="0"/>
          </a:schemeClr>
        </a:solidFill>
        <a:ln w="9525" cap="flat" cmpd="sng" algn="ctr">
          <a:solidFill>
            <a:schemeClr val="accent2">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baseline="0" dirty="0"/>
            <a:t>Required to create and delete a column master key</a:t>
          </a:r>
          <a:endParaRPr lang="en-US" sz="1900" kern="1200" dirty="0"/>
        </a:p>
      </dsp:txBody>
      <dsp:txXfrm rot="-5400000">
        <a:off x="3995040" y="167001"/>
        <a:ext cx="7056082" cy="854214"/>
      </dsp:txXfrm>
    </dsp:sp>
    <dsp:sp modelId="{9FE36F5D-7248-4DA4-9FFD-76DB9C742BE5}">
      <dsp:nvSpPr>
        <dsp:cNvPr id="0" name=""/>
        <dsp:cNvSpPr/>
      </dsp:nvSpPr>
      <dsp:spPr>
        <a:xfrm>
          <a:off x="0" y="2460"/>
          <a:ext cx="3995039" cy="1183295"/>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LTER ANY COLUMN MASTER KEY</a:t>
          </a:r>
          <a:endParaRPr lang="en-US" sz="2400" kern="1200" dirty="0"/>
        </a:p>
      </dsp:txBody>
      <dsp:txXfrm>
        <a:off x="57764" y="60224"/>
        <a:ext cx="3879511" cy="1067767"/>
      </dsp:txXfrm>
    </dsp:sp>
    <dsp:sp modelId="{FC6462EE-C45D-4824-B63D-EA04FC820552}">
      <dsp:nvSpPr>
        <dsp:cNvPr id="0" name=""/>
        <dsp:cNvSpPr/>
      </dsp:nvSpPr>
      <dsp:spPr>
        <a:xfrm rot="5400000">
          <a:off x="7072868" y="-1714578"/>
          <a:ext cx="946636" cy="7102293"/>
        </a:xfrm>
        <a:prstGeom prst="round2SameRect">
          <a:avLst/>
        </a:prstGeom>
        <a:solidFill>
          <a:schemeClr val="accent2">
            <a:tint val="40000"/>
            <a:alpha val="90000"/>
            <a:hueOff val="-1162839"/>
            <a:satOff val="3109"/>
            <a:lumOff val="385"/>
            <a:alphaOff val="0"/>
          </a:schemeClr>
        </a:solidFill>
        <a:ln w="9525" cap="flat" cmpd="sng" algn="ctr">
          <a:solidFill>
            <a:schemeClr val="accent2">
              <a:tint val="40000"/>
              <a:alpha val="90000"/>
              <a:hueOff val="-1162839"/>
              <a:satOff val="3109"/>
              <a:lumOff val="385"/>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baseline="0" dirty="0"/>
            <a:t>Required to create and delete a column encryption key</a:t>
          </a:r>
          <a:endParaRPr lang="en-US" sz="1900" kern="1200" dirty="0"/>
        </a:p>
      </dsp:txBody>
      <dsp:txXfrm rot="-5400000">
        <a:off x="3995040" y="1409461"/>
        <a:ext cx="7056082" cy="854214"/>
      </dsp:txXfrm>
    </dsp:sp>
    <dsp:sp modelId="{B7EBF281-5392-4475-844D-71D64DC3D19F}">
      <dsp:nvSpPr>
        <dsp:cNvPr id="0" name=""/>
        <dsp:cNvSpPr/>
      </dsp:nvSpPr>
      <dsp:spPr>
        <a:xfrm>
          <a:off x="0" y="1244920"/>
          <a:ext cx="3995039" cy="1183295"/>
        </a:xfrm>
        <a:prstGeom prst="roundRect">
          <a:avLst/>
        </a:prstGeom>
        <a:solidFill>
          <a:schemeClr val="accent2">
            <a:hueOff val="-889166"/>
            <a:satOff val="18461"/>
            <a:lumOff val="196"/>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LTER ANY COLUMN ENCRYPTION KEY</a:t>
          </a:r>
          <a:endParaRPr lang="en-US" sz="2400" kern="1200" dirty="0"/>
        </a:p>
      </dsp:txBody>
      <dsp:txXfrm>
        <a:off x="57764" y="1302684"/>
        <a:ext cx="3879511" cy="1067767"/>
      </dsp:txXfrm>
    </dsp:sp>
    <dsp:sp modelId="{09D0FD38-A65F-49C4-BD83-F19917332BCD}">
      <dsp:nvSpPr>
        <dsp:cNvPr id="0" name=""/>
        <dsp:cNvSpPr/>
      </dsp:nvSpPr>
      <dsp:spPr>
        <a:xfrm rot="5400000">
          <a:off x="7072868" y="-472117"/>
          <a:ext cx="946636" cy="7102293"/>
        </a:xfrm>
        <a:prstGeom prst="round2SameRect">
          <a:avLst/>
        </a:prstGeom>
        <a:solidFill>
          <a:schemeClr val="accent2">
            <a:tint val="40000"/>
            <a:alpha val="90000"/>
            <a:hueOff val="-2325678"/>
            <a:satOff val="6218"/>
            <a:lumOff val="769"/>
            <a:alphaOff val="0"/>
          </a:schemeClr>
        </a:solidFill>
        <a:ln w="9525" cap="flat" cmpd="sng" algn="ctr">
          <a:solidFill>
            <a:schemeClr val="accent2">
              <a:tint val="40000"/>
              <a:alpha val="90000"/>
              <a:hueOff val="-2325678"/>
              <a:satOff val="6218"/>
              <a:lumOff val="769"/>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baseline="0"/>
            <a:t>Required to access and read column master key metadata objects while managing keys or querying encrypting columns</a:t>
          </a:r>
          <a:endParaRPr lang="en-US" sz="1900" kern="1200"/>
        </a:p>
      </dsp:txBody>
      <dsp:txXfrm rot="-5400000">
        <a:off x="3995040" y="2651922"/>
        <a:ext cx="7056082" cy="854214"/>
      </dsp:txXfrm>
    </dsp:sp>
    <dsp:sp modelId="{2D6EA379-A3E5-4313-89E0-DC29113E82EA}">
      <dsp:nvSpPr>
        <dsp:cNvPr id="0" name=""/>
        <dsp:cNvSpPr/>
      </dsp:nvSpPr>
      <dsp:spPr>
        <a:xfrm>
          <a:off x="0" y="2487380"/>
          <a:ext cx="3995039" cy="1183295"/>
        </a:xfrm>
        <a:prstGeom prst="roundRect">
          <a:avLst/>
        </a:prstGeom>
        <a:solidFill>
          <a:schemeClr val="accent2">
            <a:hueOff val="-1778331"/>
            <a:satOff val="36921"/>
            <a:lumOff val="392"/>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a:t>VIEW ANY COLUMN MASTER KEY DEFINITION</a:t>
          </a:r>
          <a:endParaRPr lang="en-US" sz="2400" kern="1200"/>
        </a:p>
      </dsp:txBody>
      <dsp:txXfrm>
        <a:off x="57764" y="2545144"/>
        <a:ext cx="3879511" cy="1067767"/>
      </dsp:txXfrm>
    </dsp:sp>
    <dsp:sp modelId="{0DFD7F48-434F-41F7-A8E8-F3DDEE4730E9}">
      <dsp:nvSpPr>
        <dsp:cNvPr id="0" name=""/>
        <dsp:cNvSpPr/>
      </dsp:nvSpPr>
      <dsp:spPr>
        <a:xfrm rot="5400000">
          <a:off x="7072868" y="770342"/>
          <a:ext cx="946636" cy="7102293"/>
        </a:xfrm>
        <a:prstGeom prst="round2SameRect">
          <a:avLst/>
        </a:prstGeom>
        <a:solidFill>
          <a:schemeClr val="accent2">
            <a:tint val="40000"/>
            <a:alpha val="90000"/>
            <a:hueOff val="-3488517"/>
            <a:satOff val="9327"/>
            <a:lumOff val="1154"/>
            <a:alphaOff val="0"/>
          </a:schemeClr>
        </a:solidFill>
        <a:ln w="9525" cap="flat" cmpd="sng" algn="ctr">
          <a:solidFill>
            <a:schemeClr val="accent2">
              <a:tint val="40000"/>
              <a:alpha val="90000"/>
              <a:hueOff val="-3488517"/>
              <a:satOff val="9327"/>
              <a:lumOff val="1154"/>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baseline="0"/>
            <a:t>Required to access and read column encryption key metadata objects while managing keys or querying encrypting columns </a:t>
          </a:r>
          <a:endParaRPr lang="en-US" sz="1900" kern="1200"/>
        </a:p>
      </dsp:txBody>
      <dsp:txXfrm rot="-5400000">
        <a:off x="3995040" y="3894382"/>
        <a:ext cx="7056082" cy="854214"/>
      </dsp:txXfrm>
    </dsp:sp>
    <dsp:sp modelId="{405ADB7C-6A42-4FDD-889B-5EE7722889B3}">
      <dsp:nvSpPr>
        <dsp:cNvPr id="0" name=""/>
        <dsp:cNvSpPr/>
      </dsp:nvSpPr>
      <dsp:spPr>
        <a:xfrm>
          <a:off x="0" y="3729841"/>
          <a:ext cx="3995039" cy="1183295"/>
        </a:xfrm>
        <a:prstGeom prst="roundRect">
          <a:avLst/>
        </a:prstGeom>
        <a:solidFill>
          <a:schemeClr val="accent2">
            <a:hueOff val="-2667497"/>
            <a:satOff val="55382"/>
            <a:lumOff val="588"/>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a:t>VIEW ANY COLUMN ENCRYTPION KEY DEFINITION</a:t>
          </a:r>
          <a:endParaRPr lang="en-US" sz="2400" kern="1200"/>
        </a:p>
      </dsp:txBody>
      <dsp:txXfrm>
        <a:off x="57764" y="3787605"/>
        <a:ext cx="3879511" cy="106776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B02360-EDB7-4750-A6A3-4ABC9E90F3ED}">
      <dsp:nvSpPr>
        <dsp:cNvPr id="0" name=""/>
        <dsp:cNvSpPr/>
      </dsp:nvSpPr>
      <dsp:spPr>
        <a:xfrm>
          <a:off x="0" y="47128"/>
          <a:ext cx="11506200" cy="92664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a:t>Introduced in SQL Server 2016</a:t>
          </a:r>
        </a:p>
      </dsp:txBody>
      <dsp:txXfrm>
        <a:off x="45235" y="92363"/>
        <a:ext cx="11415730" cy="836170"/>
      </dsp:txXfrm>
    </dsp:sp>
    <dsp:sp modelId="{FD301DE6-8639-4D8D-A250-950D52693C3D}">
      <dsp:nvSpPr>
        <dsp:cNvPr id="0" name=""/>
        <dsp:cNvSpPr/>
      </dsp:nvSpPr>
      <dsp:spPr>
        <a:xfrm>
          <a:off x="0" y="973768"/>
          <a:ext cx="11506200" cy="59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5322" tIns="45720" rIns="256032" bIns="45720" numCol="1" spcCol="1270" anchor="t" anchorCtr="0">
          <a:noAutofit/>
        </a:bodyPr>
        <a:lstStyle/>
        <a:p>
          <a:pPr marL="285750" lvl="1" indent="-285750" algn="l" defTabSz="1244600">
            <a:lnSpc>
              <a:spcPct val="90000"/>
            </a:lnSpc>
            <a:spcBef>
              <a:spcPct val="0"/>
            </a:spcBef>
            <a:spcAft>
              <a:spcPct val="20000"/>
            </a:spcAft>
            <a:buChar char="•"/>
          </a:pPr>
          <a:r>
            <a:rPr lang="en-US" sz="2800" kern="1200" dirty="0"/>
            <a:t>All Editions (Service Pack1)</a:t>
          </a:r>
        </a:p>
      </dsp:txBody>
      <dsp:txXfrm>
        <a:off x="0" y="973768"/>
        <a:ext cx="11506200" cy="596160"/>
      </dsp:txXfrm>
    </dsp:sp>
    <dsp:sp modelId="{6D8247E7-3049-43B2-A3FA-00E18A6F406A}">
      <dsp:nvSpPr>
        <dsp:cNvPr id="0" name=""/>
        <dsp:cNvSpPr/>
      </dsp:nvSpPr>
      <dsp:spPr>
        <a:xfrm>
          <a:off x="0" y="1569928"/>
          <a:ext cx="11506200" cy="926640"/>
        </a:xfrm>
        <a:prstGeom prst="roundRect">
          <a:avLst/>
        </a:prstGeom>
        <a:solidFill>
          <a:schemeClr val="accent2">
            <a:hueOff val="-889166"/>
            <a:satOff val="18461"/>
            <a:lumOff val="19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t>Allows encrypting specific columns</a:t>
          </a:r>
        </a:p>
      </dsp:txBody>
      <dsp:txXfrm>
        <a:off x="45235" y="1615163"/>
        <a:ext cx="11415730" cy="836170"/>
      </dsp:txXfrm>
    </dsp:sp>
    <dsp:sp modelId="{CF99A6E5-ADA8-4EE2-A76D-784362DB9F14}">
      <dsp:nvSpPr>
        <dsp:cNvPr id="0" name=""/>
        <dsp:cNvSpPr/>
      </dsp:nvSpPr>
      <dsp:spPr>
        <a:xfrm>
          <a:off x="0" y="2600248"/>
          <a:ext cx="11506200" cy="926640"/>
        </a:xfrm>
        <a:prstGeom prst="roundRect">
          <a:avLst/>
        </a:prstGeom>
        <a:solidFill>
          <a:schemeClr val="accent2">
            <a:hueOff val="-1778331"/>
            <a:satOff val="36921"/>
            <a:lumOff val="39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a:t>Client-side encryption/decryption</a:t>
          </a:r>
        </a:p>
      </dsp:txBody>
      <dsp:txXfrm>
        <a:off x="45235" y="2645483"/>
        <a:ext cx="11415730" cy="836170"/>
      </dsp:txXfrm>
    </dsp:sp>
    <dsp:sp modelId="{B96391AC-ADAD-4291-8762-684B9EB31093}">
      <dsp:nvSpPr>
        <dsp:cNvPr id="0" name=""/>
        <dsp:cNvSpPr/>
      </dsp:nvSpPr>
      <dsp:spPr>
        <a:xfrm>
          <a:off x="0" y="3630568"/>
          <a:ext cx="11506200" cy="92664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a:t>Based on certificate stored on client machines</a:t>
          </a:r>
        </a:p>
      </dsp:txBody>
      <dsp:txXfrm>
        <a:off x="45235" y="3675803"/>
        <a:ext cx="11415730" cy="83617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5983D4-FCC7-4772-850E-EBC269451F96}">
      <dsp:nvSpPr>
        <dsp:cNvPr id="0" name=""/>
        <dsp:cNvSpPr/>
      </dsp:nvSpPr>
      <dsp:spPr>
        <a:xfrm>
          <a:off x="0" y="2040"/>
          <a:ext cx="11097333" cy="103400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E86011-E7A9-4CCA-A653-4550C7573F52}">
      <dsp:nvSpPr>
        <dsp:cNvPr id="0" name=""/>
        <dsp:cNvSpPr/>
      </dsp:nvSpPr>
      <dsp:spPr>
        <a:xfrm>
          <a:off x="312786" y="234690"/>
          <a:ext cx="568701" cy="5687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F158E39-93EB-4804-AF1E-B390E812D753}">
      <dsp:nvSpPr>
        <dsp:cNvPr id="0" name=""/>
        <dsp:cNvSpPr/>
      </dsp:nvSpPr>
      <dsp:spPr>
        <a:xfrm>
          <a:off x="1194274" y="2040"/>
          <a:ext cx="9903058" cy="10340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9432" tIns="109432" rIns="109432" bIns="109432" numCol="1" spcCol="1270" anchor="ctr" anchorCtr="0">
          <a:noAutofit/>
        </a:bodyPr>
        <a:lstStyle/>
        <a:p>
          <a:pPr marL="0" lvl="0" indent="0" algn="l" defTabSz="933450">
            <a:lnSpc>
              <a:spcPct val="90000"/>
            </a:lnSpc>
            <a:spcBef>
              <a:spcPct val="0"/>
            </a:spcBef>
            <a:spcAft>
              <a:spcPct val="35000"/>
            </a:spcAft>
            <a:buNone/>
          </a:pPr>
          <a:r>
            <a:rPr lang="en-US" sz="2100" kern="1200" dirty="0"/>
            <a:t>In Azure, complete isolation of data from cloud administrators is only provided when client tier is running on-premises</a:t>
          </a:r>
        </a:p>
      </dsp:txBody>
      <dsp:txXfrm>
        <a:off x="1194274" y="2040"/>
        <a:ext cx="9903058" cy="1034003"/>
      </dsp:txXfrm>
    </dsp:sp>
    <dsp:sp modelId="{233B00CF-562B-41DB-A466-CF285A77815E}">
      <dsp:nvSpPr>
        <dsp:cNvPr id="0" name=""/>
        <dsp:cNvSpPr/>
      </dsp:nvSpPr>
      <dsp:spPr>
        <a:xfrm>
          <a:off x="0" y="1294544"/>
          <a:ext cx="11097333" cy="103400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0EB8670-3EF7-4E13-81D7-DF6531B02A90}">
      <dsp:nvSpPr>
        <dsp:cNvPr id="0" name=""/>
        <dsp:cNvSpPr/>
      </dsp:nvSpPr>
      <dsp:spPr>
        <a:xfrm>
          <a:off x="312786" y="1527195"/>
          <a:ext cx="568701" cy="56870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ADA1BCF-4B6B-4919-886C-E6161488BAEE}">
      <dsp:nvSpPr>
        <dsp:cNvPr id="0" name=""/>
        <dsp:cNvSpPr/>
      </dsp:nvSpPr>
      <dsp:spPr>
        <a:xfrm>
          <a:off x="1194274" y="1294544"/>
          <a:ext cx="9903058" cy="10340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9432" tIns="109432" rIns="109432" bIns="109432" numCol="1" spcCol="1270" anchor="ctr" anchorCtr="0">
          <a:noAutofit/>
        </a:bodyPr>
        <a:lstStyle/>
        <a:p>
          <a:pPr marL="0" lvl="0" indent="0" algn="l" defTabSz="933450">
            <a:lnSpc>
              <a:spcPct val="90000"/>
            </a:lnSpc>
            <a:spcBef>
              <a:spcPct val="0"/>
            </a:spcBef>
            <a:spcAft>
              <a:spcPct val="35000"/>
            </a:spcAft>
            <a:buNone/>
          </a:pPr>
          <a:r>
            <a:rPr lang="en-US" sz="2100" kern="1200"/>
            <a:t>If the client tier is running in the cloud, moving the encryption/decryption routine to the client tier still leaves data and keys exposed to cloud administrators</a:t>
          </a:r>
        </a:p>
      </dsp:txBody>
      <dsp:txXfrm>
        <a:off x="1194274" y="1294544"/>
        <a:ext cx="9903058" cy="1034003"/>
      </dsp:txXfrm>
    </dsp:sp>
    <dsp:sp modelId="{0A8F0D1B-0A0A-4A63-A86A-200AEBBDC845}">
      <dsp:nvSpPr>
        <dsp:cNvPr id="0" name=""/>
        <dsp:cNvSpPr/>
      </dsp:nvSpPr>
      <dsp:spPr>
        <a:xfrm>
          <a:off x="0" y="2587048"/>
          <a:ext cx="11097333" cy="103400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C4A66E3-A49C-4965-9316-951735426444}">
      <dsp:nvSpPr>
        <dsp:cNvPr id="0" name=""/>
        <dsp:cNvSpPr/>
      </dsp:nvSpPr>
      <dsp:spPr>
        <a:xfrm>
          <a:off x="312786" y="2819699"/>
          <a:ext cx="568701" cy="56870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5932597-417A-4FF4-8271-001B0BA21728}">
      <dsp:nvSpPr>
        <dsp:cNvPr id="0" name=""/>
        <dsp:cNvSpPr/>
      </dsp:nvSpPr>
      <dsp:spPr>
        <a:xfrm>
          <a:off x="1194274" y="2587048"/>
          <a:ext cx="9903058" cy="10340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9432" tIns="109432" rIns="109432" bIns="109432" numCol="1" spcCol="1270" anchor="ctr" anchorCtr="0">
          <a:noAutofit/>
        </a:bodyPr>
        <a:lstStyle/>
        <a:p>
          <a:pPr marL="0" lvl="0" indent="0" algn="l" defTabSz="933450">
            <a:lnSpc>
              <a:spcPct val="90000"/>
            </a:lnSpc>
            <a:spcBef>
              <a:spcPct val="0"/>
            </a:spcBef>
            <a:spcAft>
              <a:spcPct val="35000"/>
            </a:spcAft>
            <a:buNone/>
          </a:pPr>
          <a:r>
            <a:rPr lang="en-US" sz="2100" kern="1200"/>
            <a:t>Test application workload to ensure that restrictions and limitation do not affect your application</a:t>
          </a:r>
        </a:p>
      </dsp:txBody>
      <dsp:txXfrm>
        <a:off x="1194274" y="2587048"/>
        <a:ext cx="9903058" cy="1034003"/>
      </dsp:txXfrm>
    </dsp:sp>
    <dsp:sp modelId="{5DA5D30B-44E1-4997-82AB-17C602005BB5}">
      <dsp:nvSpPr>
        <dsp:cNvPr id="0" name=""/>
        <dsp:cNvSpPr/>
      </dsp:nvSpPr>
      <dsp:spPr>
        <a:xfrm>
          <a:off x="0" y="3879553"/>
          <a:ext cx="11097333" cy="103400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2F4592B-62CB-4C7D-A54E-2075FFCD94A8}">
      <dsp:nvSpPr>
        <dsp:cNvPr id="0" name=""/>
        <dsp:cNvSpPr/>
      </dsp:nvSpPr>
      <dsp:spPr>
        <a:xfrm>
          <a:off x="312786" y="4112204"/>
          <a:ext cx="568701" cy="5687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182B079-C078-46B6-BB84-849BC83232F3}">
      <dsp:nvSpPr>
        <dsp:cNvPr id="0" name=""/>
        <dsp:cNvSpPr/>
      </dsp:nvSpPr>
      <dsp:spPr>
        <a:xfrm>
          <a:off x="1194274" y="3879553"/>
          <a:ext cx="9903058" cy="10340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9432" tIns="109432" rIns="109432" bIns="109432" numCol="1" spcCol="1270" anchor="ctr" anchorCtr="0">
          <a:noAutofit/>
        </a:bodyPr>
        <a:lstStyle/>
        <a:p>
          <a:pPr marL="0" lvl="0" indent="0" algn="l" defTabSz="933450">
            <a:lnSpc>
              <a:spcPct val="90000"/>
            </a:lnSpc>
            <a:spcBef>
              <a:spcPct val="0"/>
            </a:spcBef>
            <a:spcAft>
              <a:spcPct val="35000"/>
            </a:spcAft>
            <a:buNone/>
          </a:pPr>
          <a:r>
            <a:rPr lang="en-US" sz="2100" kern="1200"/>
            <a:t>Carefully evaluate randomized vs deterministic encryption</a:t>
          </a:r>
        </a:p>
      </dsp:txBody>
      <dsp:txXfrm>
        <a:off x="1194274" y="3879553"/>
        <a:ext cx="9903058" cy="10340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781EF9-90DF-40DB-9307-D3665F2BD6D3}">
      <dsp:nvSpPr>
        <dsp:cNvPr id="0" name=""/>
        <dsp:cNvSpPr/>
      </dsp:nvSpPr>
      <dsp:spPr>
        <a:xfrm>
          <a:off x="0" y="156808"/>
          <a:ext cx="11353800" cy="900899"/>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a:t>Deterministic vs Randomized</a:t>
          </a:r>
        </a:p>
      </dsp:txBody>
      <dsp:txXfrm>
        <a:off x="43978" y="200786"/>
        <a:ext cx="11265844" cy="812943"/>
      </dsp:txXfrm>
    </dsp:sp>
    <dsp:sp modelId="{860095FD-F362-49A4-BC62-7C1A17D40A70}">
      <dsp:nvSpPr>
        <dsp:cNvPr id="0" name=""/>
        <dsp:cNvSpPr/>
      </dsp:nvSpPr>
      <dsp:spPr>
        <a:xfrm>
          <a:off x="0" y="1158508"/>
          <a:ext cx="11353800" cy="900899"/>
        </a:xfrm>
        <a:prstGeom prst="roundRect">
          <a:avLst/>
        </a:prstGeom>
        <a:solidFill>
          <a:schemeClr val="accent2">
            <a:hueOff val="-889166"/>
            <a:satOff val="18461"/>
            <a:lumOff val="19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a:t>Column limitations based on constraints and data types</a:t>
          </a:r>
        </a:p>
      </dsp:txBody>
      <dsp:txXfrm>
        <a:off x="43978" y="1202486"/>
        <a:ext cx="11265844" cy="812943"/>
      </dsp:txXfrm>
    </dsp:sp>
    <dsp:sp modelId="{D302BF4F-7CF4-407D-9A89-F489FFB63C94}">
      <dsp:nvSpPr>
        <dsp:cNvPr id="0" name=""/>
        <dsp:cNvSpPr/>
      </dsp:nvSpPr>
      <dsp:spPr>
        <a:xfrm>
          <a:off x="0" y="2160208"/>
          <a:ext cx="11353800" cy="900899"/>
        </a:xfrm>
        <a:prstGeom prst="roundRect">
          <a:avLst/>
        </a:prstGeom>
        <a:solidFill>
          <a:schemeClr val="accent2">
            <a:hueOff val="-1778331"/>
            <a:satOff val="36921"/>
            <a:lumOff val="39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a:t>Uses different certificates than backups or TDE</a:t>
          </a:r>
        </a:p>
      </dsp:txBody>
      <dsp:txXfrm>
        <a:off x="43978" y="2204186"/>
        <a:ext cx="11265844" cy="812943"/>
      </dsp:txXfrm>
    </dsp:sp>
    <dsp:sp modelId="{B8871C80-A4C7-49C5-8AE9-D84E0D0A7529}">
      <dsp:nvSpPr>
        <dsp:cNvPr id="0" name=""/>
        <dsp:cNvSpPr/>
      </dsp:nvSpPr>
      <dsp:spPr>
        <a:xfrm>
          <a:off x="0" y="3161908"/>
          <a:ext cx="11353800" cy="900899"/>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a:t>Blocking operation while being encrypted</a:t>
          </a:r>
        </a:p>
      </dsp:txBody>
      <dsp:txXfrm>
        <a:off x="43978" y="3205886"/>
        <a:ext cx="11265844" cy="81294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CE9F4D-A008-4902-9D95-ABF2A4D2E881}">
      <dsp:nvSpPr>
        <dsp:cNvPr id="0" name=""/>
        <dsp:cNvSpPr/>
      </dsp:nvSpPr>
      <dsp:spPr>
        <a:xfrm>
          <a:off x="1077845" y="672414"/>
          <a:ext cx="1159101" cy="11591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DD9CF86-5B0F-4171-9597-F2D4F2499B20}">
      <dsp:nvSpPr>
        <dsp:cNvPr id="0" name=""/>
        <dsp:cNvSpPr/>
      </dsp:nvSpPr>
      <dsp:spPr>
        <a:xfrm>
          <a:off x="1537" y="1985058"/>
          <a:ext cx="3311718" cy="8227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100000"/>
            </a:lnSpc>
            <a:spcBef>
              <a:spcPct val="0"/>
            </a:spcBef>
            <a:spcAft>
              <a:spcPct val="35000"/>
            </a:spcAft>
            <a:buNone/>
            <a:defRPr b="1"/>
          </a:pPr>
          <a:r>
            <a:rPr lang="en-US" sz="2400" kern="1200" baseline="0"/>
            <a:t>Client and Data on-premises</a:t>
          </a:r>
          <a:endParaRPr lang="en-US" sz="2400" kern="1200"/>
        </a:p>
      </dsp:txBody>
      <dsp:txXfrm>
        <a:off x="1537" y="1985058"/>
        <a:ext cx="3311718" cy="822755"/>
      </dsp:txXfrm>
    </dsp:sp>
    <dsp:sp modelId="{CEBF04F7-86D0-46C9-978D-4F7B60A175B5}">
      <dsp:nvSpPr>
        <dsp:cNvPr id="0" name=""/>
        <dsp:cNvSpPr/>
      </dsp:nvSpPr>
      <dsp:spPr>
        <a:xfrm>
          <a:off x="1537" y="2879229"/>
          <a:ext cx="3311718" cy="13639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en-US" sz="2000" kern="1200" baseline="0"/>
            <a:t>Customer has client application and SQL Server, both running on-premises at business location</a:t>
          </a:r>
          <a:endParaRPr lang="en-US" sz="2000" kern="1200"/>
        </a:p>
      </dsp:txBody>
      <dsp:txXfrm>
        <a:off x="1537" y="2879229"/>
        <a:ext cx="3311718" cy="1363953"/>
      </dsp:txXfrm>
    </dsp:sp>
    <dsp:sp modelId="{A78AE2C6-D93B-4C9C-B5CF-7D16C16C13CD}">
      <dsp:nvSpPr>
        <dsp:cNvPr id="0" name=""/>
        <dsp:cNvSpPr/>
      </dsp:nvSpPr>
      <dsp:spPr>
        <a:xfrm>
          <a:off x="8901123" y="682741"/>
          <a:ext cx="1159101" cy="115910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C0D664A-9237-437A-AEC0-5FDD11EBA76A}">
      <dsp:nvSpPr>
        <dsp:cNvPr id="0" name=""/>
        <dsp:cNvSpPr/>
      </dsp:nvSpPr>
      <dsp:spPr>
        <a:xfrm>
          <a:off x="3892806" y="1985058"/>
          <a:ext cx="3311718" cy="8227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100000"/>
            </a:lnSpc>
            <a:spcBef>
              <a:spcPct val="0"/>
            </a:spcBef>
            <a:spcAft>
              <a:spcPct val="35000"/>
            </a:spcAft>
            <a:buNone/>
            <a:defRPr b="1"/>
          </a:pPr>
          <a:r>
            <a:rPr lang="en-US" sz="2400" kern="1200" baseline="0"/>
            <a:t>Client on-premises with data in Azure</a:t>
          </a:r>
          <a:endParaRPr lang="en-US" sz="2400" kern="1200"/>
        </a:p>
      </dsp:txBody>
      <dsp:txXfrm>
        <a:off x="3892806" y="1985058"/>
        <a:ext cx="3311718" cy="822755"/>
      </dsp:txXfrm>
    </dsp:sp>
    <dsp:sp modelId="{80F12ED7-B9EB-403D-B44F-2A76CB99520D}">
      <dsp:nvSpPr>
        <dsp:cNvPr id="0" name=""/>
        <dsp:cNvSpPr/>
      </dsp:nvSpPr>
      <dsp:spPr>
        <a:xfrm>
          <a:off x="3892806" y="2879229"/>
          <a:ext cx="3311718" cy="13639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en-US" sz="2000" kern="1200" baseline="0"/>
            <a:t>Automatic encryption and decryption of sensitive data</a:t>
          </a:r>
          <a:endParaRPr lang="en-US" sz="2000" kern="1200"/>
        </a:p>
      </dsp:txBody>
      <dsp:txXfrm>
        <a:off x="3892806" y="2879229"/>
        <a:ext cx="3311718" cy="1363953"/>
      </dsp:txXfrm>
    </dsp:sp>
    <dsp:sp modelId="{0BD516AE-ED49-49F1-B089-CBB654833AAA}">
      <dsp:nvSpPr>
        <dsp:cNvPr id="0" name=""/>
        <dsp:cNvSpPr/>
      </dsp:nvSpPr>
      <dsp:spPr>
        <a:xfrm>
          <a:off x="4969118" y="682741"/>
          <a:ext cx="1159101" cy="115910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6B95474-192E-469D-AAF4-3E84FF422061}">
      <dsp:nvSpPr>
        <dsp:cNvPr id="0" name=""/>
        <dsp:cNvSpPr/>
      </dsp:nvSpPr>
      <dsp:spPr>
        <a:xfrm>
          <a:off x="7784076" y="1985058"/>
          <a:ext cx="3311718" cy="8227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100000"/>
            </a:lnSpc>
            <a:spcBef>
              <a:spcPct val="0"/>
            </a:spcBef>
            <a:spcAft>
              <a:spcPct val="35000"/>
            </a:spcAft>
            <a:buNone/>
            <a:defRPr b="1"/>
          </a:pPr>
          <a:r>
            <a:rPr lang="en-US" sz="2400" kern="1200" baseline="0"/>
            <a:t>Client and Data in Azure</a:t>
          </a:r>
          <a:endParaRPr lang="en-US" sz="2400" kern="1200"/>
        </a:p>
      </dsp:txBody>
      <dsp:txXfrm>
        <a:off x="7784076" y="1985058"/>
        <a:ext cx="3311718" cy="822755"/>
      </dsp:txXfrm>
    </dsp:sp>
    <dsp:sp modelId="{428E232F-530D-4A41-9E15-4C655ADA5CE9}">
      <dsp:nvSpPr>
        <dsp:cNvPr id="0" name=""/>
        <dsp:cNvSpPr/>
      </dsp:nvSpPr>
      <dsp:spPr>
        <a:xfrm>
          <a:off x="7784076" y="2879229"/>
          <a:ext cx="3311718" cy="13639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en-US" sz="2000" kern="1200" baseline="0"/>
            <a:t>Customer has client application hosted in Azure, which operates on sensitive data also stored in Azure</a:t>
          </a:r>
          <a:endParaRPr lang="en-US" sz="2000" kern="1200"/>
        </a:p>
      </dsp:txBody>
      <dsp:txXfrm>
        <a:off x="7784076" y="2879229"/>
        <a:ext cx="3311718" cy="136395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4D75BD-9FDC-4141-B46A-97441BCDF33A}">
      <dsp:nvSpPr>
        <dsp:cNvPr id="0" name=""/>
        <dsp:cNvSpPr/>
      </dsp:nvSpPr>
      <dsp:spPr>
        <a:xfrm>
          <a:off x="3467" y="225006"/>
          <a:ext cx="3381218" cy="942748"/>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revention of data disclosure</a:t>
          </a:r>
          <a:endParaRPr lang="en-US" sz="2400" kern="1200" dirty="0"/>
        </a:p>
      </dsp:txBody>
      <dsp:txXfrm>
        <a:off x="3467" y="225006"/>
        <a:ext cx="3381218" cy="942748"/>
      </dsp:txXfrm>
    </dsp:sp>
    <dsp:sp modelId="{5AF482D2-30D0-4D64-8CC6-F7BE63D57259}">
      <dsp:nvSpPr>
        <dsp:cNvPr id="0" name=""/>
        <dsp:cNvSpPr/>
      </dsp:nvSpPr>
      <dsp:spPr>
        <a:xfrm>
          <a:off x="3467" y="1167754"/>
          <a:ext cx="3381218" cy="2083454"/>
        </a:xfrm>
        <a:prstGeom prst="rect">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a:t>Client-side encryption of sensitive data using keys that are never given to database system.</a:t>
          </a:r>
          <a:endParaRPr lang="en-US" sz="2300" kern="1200"/>
        </a:p>
      </dsp:txBody>
      <dsp:txXfrm>
        <a:off x="3467" y="1167754"/>
        <a:ext cx="3381218" cy="2083454"/>
      </dsp:txXfrm>
    </dsp:sp>
    <dsp:sp modelId="{C569CFEB-6885-4864-93AB-40D0E93963A0}">
      <dsp:nvSpPr>
        <dsp:cNvPr id="0" name=""/>
        <dsp:cNvSpPr/>
      </dsp:nvSpPr>
      <dsp:spPr>
        <a:xfrm>
          <a:off x="3858057" y="225006"/>
          <a:ext cx="3381218" cy="942748"/>
        </a:xfrm>
        <a:prstGeom prst="rect">
          <a:avLst/>
        </a:prstGeom>
        <a:solidFill>
          <a:schemeClr val="accent3">
            <a:hueOff val="1008935"/>
            <a:satOff val="0"/>
            <a:lumOff val="5000"/>
            <a:alphaOff val="0"/>
          </a:schemeClr>
        </a:solidFill>
        <a:ln w="10795" cap="flat" cmpd="sng" algn="ctr">
          <a:solidFill>
            <a:schemeClr val="accent3">
              <a:hueOff val="1008935"/>
              <a:satOff val="0"/>
              <a:lumOff val="500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Queries on encrypted data</a:t>
          </a:r>
          <a:endParaRPr lang="en-US" sz="2400" kern="1200"/>
        </a:p>
      </dsp:txBody>
      <dsp:txXfrm>
        <a:off x="3858057" y="225006"/>
        <a:ext cx="3381218" cy="942748"/>
      </dsp:txXfrm>
    </dsp:sp>
    <dsp:sp modelId="{13484473-4851-48EC-8924-9E35DFFD0971}">
      <dsp:nvSpPr>
        <dsp:cNvPr id="0" name=""/>
        <dsp:cNvSpPr/>
      </dsp:nvSpPr>
      <dsp:spPr>
        <a:xfrm>
          <a:off x="3858057" y="1167754"/>
          <a:ext cx="3381218" cy="2083454"/>
        </a:xfrm>
        <a:prstGeom prst="rect">
          <a:avLst/>
        </a:prstGeom>
        <a:solidFill>
          <a:schemeClr val="accent3">
            <a:tint val="40000"/>
            <a:alpha val="90000"/>
            <a:hueOff val="1681324"/>
            <a:satOff val="9829"/>
            <a:lumOff val="1281"/>
            <a:alphaOff val="0"/>
          </a:schemeClr>
        </a:solidFill>
        <a:ln w="10795" cap="flat" cmpd="sng" algn="ctr">
          <a:solidFill>
            <a:schemeClr val="accent3">
              <a:tint val="40000"/>
              <a:alpha val="90000"/>
              <a:hueOff val="1681324"/>
              <a:satOff val="9829"/>
              <a:lumOff val="128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a:t>Support for equality comparison, including join, group by, and distinct operators</a:t>
          </a:r>
          <a:endParaRPr lang="en-US" sz="2300" kern="1200"/>
        </a:p>
      </dsp:txBody>
      <dsp:txXfrm>
        <a:off x="3858057" y="1167754"/>
        <a:ext cx="3381218" cy="2083454"/>
      </dsp:txXfrm>
    </dsp:sp>
    <dsp:sp modelId="{D3A10147-43BF-4A76-973D-FA579AC4A8A2}">
      <dsp:nvSpPr>
        <dsp:cNvPr id="0" name=""/>
        <dsp:cNvSpPr/>
      </dsp:nvSpPr>
      <dsp:spPr>
        <a:xfrm>
          <a:off x="7712646" y="225006"/>
          <a:ext cx="3381218" cy="942748"/>
        </a:xfrm>
        <a:prstGeom prst="rect">
          <a:avLst/>
        </a:prstGeom>
        <a:solidFill>
          <a:schemeClr val="accent3">
            <a:hueOff val="2017870"/>
            <a:satOff val="0"/>
            <a:lumOff val="10000"/>
            <a:alphaOff val="0"/>
          </a:schemeClr>
        </a:solidFill>
        <a:ln w="10795" cap="flat" cmpd="sng" algn="ctr">
          <a:solidFill>
            <a:schemeClr val="accent3">
              <a:hueOff val="2017870"/>
              <a:satOff val="0"/>
              <a:lumOff val="1000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Application transparency</a:t>
          </a:r>
          <a:endParaRPr lang="en-US" sz="2400" kern="1200"/>
        </a:p>
      </dsp:txBody>
      <dsp:txXfrm>
        <a:off x="7712646" y="225006"/>
        <a:ext cx="3381218" cy="942748"/>
      </dsp:txXfrm>
    </dsp:sp>
    <dsp:sp modelId="{8D90133C-4272-4135-9F73-1E67A4155A33}">
      <dsp:nvSpPr>
        <dsp:cNvPr id="0" name=""/>
        <dsp:cNvSpPr/>
      </dsp:nvSpPr>
      <dsp:spPr>
        <a:xfrm>
          <a:off x="7712646" y="1167754"/>
          <a:ext cx="3381218" cy="2083454"/>
        </a:xfrm>
        <a:prstGeom prst="rect">
          <a:avLst/>
        </a:prstGeom>
        <a:solidFill>
          <a:schemeClr val="accent3">
            <a:tint val="40000"/>
            <a:alpha val="90000"/>
            <a:hueOff val="3362649"/>
            <a:satOff val="19657"/>
            <a:lumOff val="2562"/>
            <a:alphaOff val="0"/>
          </a:schemeClr>
        </a:solidFill>
        <a:ln w="10795" cap="flat" cmpd="sng" algn="ctr">
          <a:solidFill>
            <a:schemeClr val="accent3">
              <a:tint val="40000"/>
              <a:alpha val="90000"/>
              <a:hueOff val="3362649"/>
              <a:satOff val="19657"/>
              <a:lumOff val="256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a:t>Minimal application changes through server and client library enhancements</a:t>
          </a:r>
          <a:endParaRPr lang="en-US" sz="2300" kern="1200"/>
        </a:p>
      </dsp:txBody>
      <dsp:txXfrm>
        <a:off x="7712646" y="1167754"/>
        <a:ext cx="3381218" cy="208345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CFC071-9835-4C39-9D16-0928877238E1}">
      <dsp:nvSpPr>
        <dsp:cNvPr id="0" name=""/>
        <dsp:cNvSpPr/>
      </dsp:nvSpPr>
      <dsp:spPr>
        <a:xfrm>
          <a:off x="0" y="33573"/>
          <a:ext cx="11097332" cy="12168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llows customers to securely store sensitive data outside of their trust boundary while protecting data from highly privileged users.</a:t>
          </a:r>
          <a:endParaRPr lang="en-US" sz="2400" kern="1200" dirty="0"/>
        </a:p>
      </dsp:txBody>
      <dsp:txXfrm>
        <a:off x="59399" y="92972"/>
        <a:ext cx="10978534" cy="10980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856AE0-EE91-4977-A156-4D3DF521BB72}">
      <dsp:nvSpPr>
        <dsp:cNvPr id="0" name=""/>
        <dsp:cNvSpPr/>
      </dsp:nvSpPr>
      <dsp:spPr>
        <a:xfrm>
          <a:off x="0" y="478788"/>
          <a:ext cx="11097332" cy="987525"/>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1276" tIns="458216" rIns="861276" bIns="156464" numCol="1" spcCol="1270" anchor="t" anchorCtr="0">
          <a:noAutofit/>
        </a:bodyPr>
        <a:lstStyle/>
        <a:p>
          <a:pPr marL="228600" lvl="1" indent="-228600" algn="l" defTabSz="977900">
            <a:lnSpc>
              <a:spcPct val="100000"/>
            </a:lnSpc>
            <a:spcBef>
              <a:spcPct val="0"/>
            </a:spcBef>
            <a:spcAft>
              <a:spcPct val="15000"/>
            </a:spcAft>
            <a:buChar char="•"/>
          </a:pPr>
          <a:r>
            <a:rPr lang="en-US" sz="2200" kern="1200" baseline="0" dirty="0"/>
            <a:t>SQL Server only handles encrypted data—not plain text values</a:t>
          </a:r>
          <a:endParaRPr lang="en-US" sz="2200" kern="1200" dirty="0"/>
        </a:p>
      </dsp:txBody>
      <dsp:txXfrm>
        <a:off x="0" y="478788"/>
        <a:ext cx="11097332" cy="987525"/>
      </dsp:txXfrm>
    </dsp:sp>
    <dsp:sp modelId="{F7736CFC-A0BC-4EFE-BE42-BF0F0E381665}">
      <dsp:nvSpPr>
        <dsp:cNvPr id="0" name=""/>
        <dsp:cNvSpPr/>
      </dsp:nvSpPr>
      <dsp:spPr>
        <a:xfrm>
          <a:off x="554866" y="154068"/>
          <a:ext cx="8436813" cy="649440"/>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93617" tIns="0" rIns="29361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Migration of sensitive data in application</a:t>
          </a:r>
          <a:endParaRPr lang="en-US" sz="2400" kern="1200" dirty="0"/>
        </a:p>
      </dsp:txBody>
      <dsp:txXfrm>
        <a:off x="586569" y="185771"/>
        <a:ext cx="8373407" cy="586034"/>
      </dsp:txXfrm>
    </dsp:sp>
    <dsp:sp modelId="{EAA1063C-58AA-4FF2-9C02-E8E5ADEE8C64}">
      <dsp:nvSpPr>
        <dsp:cNvPr id="0" name=""/>
        <dsp:cNvSpPr/>
      </dsp:nvSpPr>
      <dsp:spPr>
        <a:xfrm>
          <a:off x="0" y="1909833"/>
          <a:ext cx="11097332" cy="1420650"/>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1276" tIns="458216" rIns="861276" bIns="156464" numCol="1" spcCol="1270" anchor="t" anchorCtr="0">
          <a:noAutofit/>
        </a:bodyPr>
        <a:lstStyle/>
        <a:p>
          <a:pPr marL="228600" lvl="1" indent="-228600" algn="l" defTabSz="977900">
            <a:lnSpc>
              <a:spcPct val="100000"/>
            </a:lnSpc>
            <a:spcBef>
              <a:spcPct val="0"/>
            </a:spcBef>
            <a:spcAft>
              <a:spcPct val="15000"/>
            </a:spcAft>
            <a:buChar char="•"/>
          </a:pPr>
          <a:r>
            <a:rPr lang="en-US" sz="2200" kern="1200" baseline="0"/>
            <a:t>Automatically rewrites queries to preserve semantics to application</a:t>
          </a:r>
          <a:endParaRPr lang="en-US" sz="2200" kern="1200"/>
        </a:p>
        <a:p>
          <a:pPr marL="228600" lvl="1" indent="-228600" algn="l" defTabSz="977900">
            <a:lnSpc>
              <a:spcPct val="100000"/>
            </a:lnSpc>
            <a:spcBef>
              <a:spcPct val="0"/>
            </a:spcBef>
            <a:spcAft>
              <a:spcPct val="15000"/>
            </a:spcAft>
            <a:buChar char="•"/>
          </a:pPr>
          <a:r>
            <a:rPr lang="en-US" sz="2200" kern="1200" baseline="0"/>
            <a:t>Driver transparently decrypts data</a:t>
          </a:r>
          <a:endParaRPr lang="en-US" sz="2200" kern="1200"/>
        </a:p>
      </dsp:txBody>
      <dsp:txXfrm>
        <a:off x="0" y="1909833"/>
        <a:ext cx="11097332" cy="1420650"/>
      </dsp:txXfrm>
    </dsp:sp>
    <dsp:sp modelId="{1185A1B6-7D65-4F50-8E14-FBA3CE65357A}">
      <dsp:nvSpPr>
        <dsp:cNvPr id="0" name=""/>
        <dsp:cNvSpPr/>
      </dsp:nvSpPr>
      <dsp:spPr>
        <a:xfrm>
          <a:off x="554866" y="1585113"/>
          <a:ext cx="8436813" cy="649440"/>
        </a:xfrm>
        <a:prstGeom prst="roundRect">
          <a:avLst/>
        </a:prstGeom>
        <a:solidFill>
          <a:schemeClr val="accent3">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93617" tIns="0" rIns="293617" bIns="0" numCol="1" spcCol="1270" anchor="ctr" anchorCtr="0">
          <a:noAutofit/>
        </a:bodyPr>
        <a:lstStyle/>
        <a:p>
          <a:pPr marL="0" lvl="0" indent="0" algn="l" defTabSz="1066800">
            <a:lnSpc>
              <a:spcPct val="90000"/>
            </a:lnSpc>
            <a:spcBef>
              <a:spcPct val="0"/>
            </a:spcBef>
            <a:spcAft>
              <a:spcPct val="35000"/>
            </a:spcAft>
            <a:buNone/>
          </a:pPr>
          <a:r>
            <a:rPr lang="en-US" sz="2400" kern="1200" baseline="0"/>
            <a:t>Automatic encryption and decryption of sensitive data</a:t>
          </a:r>
          <a:endParaRPr lang="en-US" sz="2400" kern="1200"/>
        </a:p>
      </dsp:txBody>
      <dsp:txXfrm>
        <a:off x="586569" y="1616816"/>
        <a:ext cx="8373407" cy="586034"/>
      </dsp:txXfrm>
    </dsp:sp>
    <dsp:sp modelId="{15E0B48C-36ED-4E65-A9C1-8CD747B5E99F}">
      <dsp:nvSpPr>
        <dsp:cNvPr id="0" name=""/>
        <dsp:cNvSpPr/>
      </dsp:nvSpPr>
      <dsp:spPr>
        <a:xfrm>
          <a:off x="0" y="3774003"/>
          <a:ext cx="11097332" cy="987525"/>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1276" tIns="458216" rIns="861276" bIns="156464" numCol="1" spcCol="1270" anchor="t" anchorCtr="0">
          <a:noAutofit/>
        </a:bodyPr>
        <a:lstStyle/>
        <a:p>
          <a:pPr marL="228600" lvl="1" indent="-228600" algn="l" defTabSz="977900">
            <a:lnSpc>
              <a:spcPct val="100000"/>
            </a:lnSpc>
            <a:spcBef>
              <a:spcPct val="0"/>
            </a:spcBef>
            <a:spcAft>
              <a:spcPct val="15000"/>
            </a:spcAft>
            <a:buChar char="•"/>
          </a:pPr>
          <a:r>
            <a:rPr lang="en-US" sz="2200" kern="1200" baseline="0"/>
            <a:t>Use ALLOW_ENCRYPTED_VALUE_MODIFICATIONS option for bulk loading</a:t>
          </a:r>
          <a:endParaRPr lang="en-US" sz="2200" kern="1200"/>
        </a:p>
      </dsp:txBody>
      <dsp:txXfrm>
        <a:off x="0" y="3774003"/>
        <a:ext cx="11097332" cy="987525"/>
      </dsp:txXfrm>
    </dsp:sp>
    <dsp:sp modelId="{CA52615F-F6B2-43C5-901B-F50A45071F51}">
      <dsp:nvSpPr>
        <dsp:cNvPr id="0" name=""/>
        <dsp:cNvSpPr/>
      </dsp:nvSpPr>
      <dsp:spPr>
        <a:xfrm>
          <a:off x="554866" y="3449283"/>
          <a:ext cx="8436813" cy="649440"/>
        </a:xfrm>
        <a:prstGeom prst="roundRect">
          <a:avLst/>
        </a:prstGeom>
        <a:solidFill>
          <a:schemeClr val="accent4">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93617" tIns="0" rIns="293617" bIns="0" numCol="1" spcCol="1270" anchor="ctr" anchorCtr="0">
          <a:noAutofit/>
        </a:bodyPr>
        <a:lstStyle/>
        <a:p>
          <a:pPr marL="0" lvl="0" indent="0" algn="l" defTabSz="1066800">
            <a:lnSpc>
              <a:spcPct val="90000"/>
            </a:lnSpc>
            <a:spcBef>
              <a:spcPct val="0"/>
            </a:spcBef>
            <a:spcAft>
              <a:spcPct val="35000"/>
            </a:spcAft>
            <a:buNone/>
          </a:pPr>
          <a:r>
            <a:rPr lang="en-US" sz="2400" kern="1200" baseline="0"/>
            <a:t>Bulk loading of encrypted data</a:t>
          </a:r>
          <a:endParaRPr lang="en-US" sz="2400" kern="1200"/>
        </a:p>
      </dsp:txBody>
      <dsp:txXfrm>
        <a:off x="586569" y="3480986"/>
        <a:ext cx="8373407" cy="58603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AA28EE-A740-4EBA-847A-0D85A18312D3}">
      <dsp:nvSpPr>
        <dsp:cNvPr id="0" name=""/>
        <dsp:cNvSpPr/>
      </dsp:nvSpPr>
      <dsp:spPr>
        <a:xfrm>
          <a:off x="0" y="39341"/>
          <a:ext cx="5561107" cy="616004"/>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Capability</a:t>
          </a:r>
          <a:endParaRPr lang="en-US" sz="2400" kern="1200"/>
        </a:p>
      </dsp:txBody>
      <dsp:txXfrm>
        <a:off x="30071" y="69412"/>
        <a:ext cx="5500965" cy="555862"/>
      </dsp:txXfrm>
    </dsp:sp>
    <dsp:sp modelId="{2CE60CE3-C912-4F04-A89A-7FA5103BBEEC}">
      <dsp:nvSpPr>
        <dsp:cNvPr id="0" name=""/>
        <dsp:cNvSpPr/>
      </dsp:nvSpPr>
      <dsp:spPr>
        <a:xfrm>
          <a:off x="0" y="655346"/>
          <a:ext cx="5561107" cy="14251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565"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baseline="0"/>
            <a:t>The ADO.NET client library provides transparent client-side encryption</a:t>
          </a:r>
          <a:endParaRPr lang="en-US" sz="2100" kern="1200"/>
        </a:p>
        <a:p>
          <a:pPr marL="228600" lvl="1" indent="-228600" algn="l" defTabSz="933450">
            <a:lnSpc>
              <a:spcPct val="90000"/>
            </a:lnSpc>
            <a:spcBef>
              <a:spcPct val="0"/>
            </a:spcBef>
            <a:spcAft>
              <a:spcPct val="20000"/>
            </a:spcAft>
            <a:buChar char="•"/>
          </a:pPr>
          <a:r>
            <a:rPr lang="en-US" sz="2100" kern="1200" baseline="0"/>
            <a:t>Microsoft SQL Server executes T-SQL queries on encrypted data</a:t>
          </a:r>
          <a:endParaRPr lang="en-US" sz="2100" kern="1200"/>
        </a:p>
      </dsp:txBody>
      <dsp:txXfrm>
        <a:off x="0" y="655346"/>
        <a:ext cx="5561107" cy="1425195"/>
      </dsp:txXfrm>
    </dsp:sp>
    <dsp:sp modelId="{BF5CC69C-AB2F-4C50-8B0A-B250A6DFC5DA}">
      <dsp:nvSpPr>
        <dsp:cNvPr id="0" name=""/>
        <dsp:cNvSpPr/>
      </dsp:nvSpPr>
      <dsp:spPr>
        <a:xfrm>
          <a:off x="0" y="2080541"/>
          <a:ext cx="5561107" cy="616004"/>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Benefits</a:t>
          </a:r>
          <a:endParaRPr lang="en-US" sz="2400" kern="1200"/>
        </a:p>
      </dsp:txBody>
      <dsp:txXfrm>
        <a:off x="30071" y="2110612"/>
        <a:ext cx="5500965" cy="555862"/>
      </dsp:txXfrm>
    </dsp:sp>
    <dsp:sp modelId="{19BF634A-98D8-4801-8C83-4EB8A444225E}">
      <dsp:nvSpPr>
        <dsp:cNvPr id="0" name=""/>
        <dsp:cNvSpPr/>
      </dsp:nvSpPr>
      <dsp:spPr>
        <a:xfrm>
          <a:off x="0" y="2696546"/>
          <a:ext cx="5561107" cy="21797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565"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baseline="0" dirty="0"/>
            <a:t>Sensitive data remains encrypted and can always be queried , on-premises and in the cloud</a:t>
          </a:r>
          <a:endParaRPr lang="en-US" sz="2100" kern="1200" dirty="0"/>
        </a:p>
        <a:p>
          <a:pPr marL="228600" lvl="1" indent="-228600" algn="l" defTabSz="933450">
            <a:lnSpc>
              <a:spcPct val="90000"/>
            </a:lnSpc>
            <a:spcBef>
              <a:spcPct val="0"/>
            </a:spcBef>
            <a:spcAft>
              <a:spcPct val="20000"/>
            </a:spcAft>
            <a:buChar char="•"/>
          </a:pPr>
          <a:r>
            <a:rPr lang="en-US" sz="2100" kern="1200" baseline="0" dirty="0"/>
            <a:t>Unauthorized users never have access to data or keys</a:t>
          </a:r>
          <a:endParaRPr lang="en-US" sz="2100" kern="1200" dirty="0"/>
        </a:p>
        <a:p>
          <a:pPr marL="228600" lvl="1" indent="-228600" algn="l" defTabSz="933450">
            <a:lnSpc>
              <a:spcPct val="90000"/>
            </a:lnSpc>
            <a:spcBef>
              <a:spcPct val="0"/>
            </a:spcBef>
            <a:spcAft>
              <a:spcPct val="20000"/>
            </a:spcAft>
            <a:buChar char="•"/>
          </a:pPr>
          <a:r>
            <a:rPr lang="en-US" sz="2100" kern="1200" baseline="0" dirty="0"/>
            <a:t>No application changes  </a:t>
          </a:r>
          <a:endParaRPr lang="en-US" sz="2100" kern="1200" dirty="0"/>
        </a:p>
      </dsp:txBody>
      <dsp:txXfrm>
        <a:off x="0" y="2696546"/>
        <a:ext cx="5561107" cy="217970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DE416B-2E15-4CC7-9AAD-33F4C7338192}">
      <dsp:nvSpPr>
        <dsp:cNvPr id="0" name=""/>
        <dsp:cNvSpPr/>
      </dsp:nvSpPr>
      <dsp:spPr>
        <a:xfrm>
          <a:off x="143322" y="37848"/>
          <a:ext cx="10891698" cy="12168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baseline="0" dirty="0"/>
            <a:t>Encrypted sensitive data and corresponding keys are never seen in plain text in SQL Server</a:t>
          </a:r>
          <a:endParaRPr lang="en-US" sz="2800" kern="1200" dirty="0"/>
        </a:p>
      </dsp:txBody>
      <dsp:txXfrm>
        <a:off x="202721" y="97247"/>
        <a:ext cx="10772900" cy="1098002"/>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8/25/2021 1:19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p:cNvSpPr txBox="1"/>
          <p:nvPr/>
        </p:nvSpPr>
        <p:spPr>
          <a:xfrm>
            <a:off x="-263607" y="8845632"/>
            <a:ext cx="4844956" cy="415498"/>
          </a:xfrm>
          <a:prstGeom prst="rect">
            <a:avLst/>
          </a:prstGeom>
          <a:noFill/>
        </p:spPr>
        <p:txBody>
          <a:bodyPr wrap="square" rtlCol="0">
            <a:spAutoFit/>
          </a:bodyPr>
          <a:lstStyle/>
          <a:p>
            <a:pPr algn="ctr" defTabSz="457200">
              <a:defRPr/>
            </a:pPr>
            <a:r>
              <a:rPr lang="en-US" sz="1050" dirty="0">
                <a:solidFill>
                  <a:prstClr val="black"/>
                </a:solidFill>
                <a:latin typeface="Segoe UI" panose="020B0502040204020203" pitchFamily="34" charset="0"/>
                <a:cs typeface="Segoe UI" pitchFamily="34" charset="0"/>
              </a:rPr>
              <a:t>© 2016 Microsoft Corporation                           Microsoft Confidential </a:t>
            </a:r>
          </a:p>
          <a:p>
            <a:pPr defTabSz="457200" eaLnBrk="0" fontAlgn="base" hangingPunct="0">
              <a:spcBef>
                <a:spcPct val="0"/>
              </a:spcBef>
              <a:spcAft>
                <a:spcPct val="0"/>
              </a:spcAft>
            </a:pPr>
            <a:endParaRPr lang="en-US" sz="1050" dirty="0">
              <a:solidFill>
                <a:prstClr val="black"/>
              </a:solidFill>
              <a:latin typeface="Segoe UI" panose="020B0502040204020203" pitchFamily="34" charset="0"/>
              <a:cs typeface="Segoe UI" pitchFamily="34" charset="0"/>
            </a:endParaRPr>
          </a:p>
        </p:txBody>
      </p:sp>
      <p:sp>
        <p:nvSpPr>
          <p:cNvPr id="15" name="Slide Number Placeholder 6"/>
          <p:cNvSpPr txBox="1">
            <a:spLocks/>
          </p:cNvSpPr>
          <p:nvPr/>
        </p:nvSpPr>
        <p:spPr>
          <a:xfrm>
            <a:off x="5429249" y="8847117"/>
            <a:ext cx="1428751" cy="2968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363">
              <a:defRPr/>
            </a:pPr>
            <a:fld id="{B4008EB6-D09E-4580-8CD6-DDB14511944F}" type="slidenum">
              <a:rPr lang="en-US" sz="1200" smtClean="0">
                <a:solidFill>
                  <a:prstClr val="black"/>
                </a:solidFill>
                <a:latin typeface="Segoe UI" pitchFamily="34" charset="0"/>
                <a:cs typeface="Segoe UI" pitchFamily="34" charset="0"/>
              </a:rPr>
              <a:pPr algn="r" defTabSz="914363">
                <a:defRPr/>
              </a:pPr>
              <a:t>‹#›</a:t>
            </a:fld>
            <a:endParaRPr lang="en-US" sz="1200" dirty="0">
              <a:solidFill>
                <a:prstClr val="black"/>
              </a:solidFill>
              <a:latin typeface="Segoe UI" pitchFamily="34" charset="0"/>
              <a:cs typeface="Segoe UI" pitchFamily="34" charset="0"/>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database-engine?view=sql-server-ver15#selecting--deterministic-or-randomized-encryption"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cryptography?view=sql-server-ver15" TargetMode="External"/><Relationship Id="rId2" Type="http://schemas.openxmlformats.org/officeDocument/2006/relationships/slide" Target="../slides/slide15.xml"/><Relationship Id="rId1" Type="http://schemas.openxmlformats.org/officeDocument/2006/relationships/notesMaster" Target="../notesMasters/notesMaster1.xml"/><Relationship Id="rId5" Type="http://schemas.openxmlformats.org/officeDocument/2006/relationships/hyperlink" Target="https://csrc.nist.gov/publications/nistpubs/800-38a/sp800-38a.pdf" TargetMode="External"/><Relationship Id="rId4" Type="http://schemas.openxmlformats.org/officeDocument/2006/relationships/hyperlink" Target="https://tools.ietf.org/html/draft-mcgrew-aead-aes-cbc-hmac-sha2-05"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enclaves?view=sql-server-ver15"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www.microsoft.com/security/blog/2018/06/05/virtualization-based-security-vbs-memory-enclaves-data-protection-through-isolation/"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sql/relational-databases/system-catalog-views/sys-column-master-keys-transact-sql?view=sql-server-ver15"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s://docs.microsoft.com/en-us/sql/relational-databases/system-catalog-views/sys-column-encryption-key-values-transact-sql?view=sql-server-ver15" TargetMode="External"/><Relationship Id="rId4" Type="http://schemas.openxmlformats.org/officeDocument/2006/relationships/hyperlink" Target="https://docs.microsoft.com/en-us/sql/relational-databases/system-catalog-views/sys-column-encryption-keys-transact-sql?view=sql-server-ver15"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sql/relational-databases/system-catalog-views/sys-column-master-keys-transact-sql?view=sql-server-ver15" TargetMode="External"/><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https://docs.microsoft.com/en-us/sql/relational-databases/system-catalog-views/sys-column-encryption-key-values-transact-sql?view=sql-server-ver15" TargetMode="External"/><Relationship Id="rId4" Type="http://schemas.openxmlformats.org/officeDocument/2006/relationships/hyperlink" Target="https://docs.microsoft.com/en-us/sql/relational-databases/system-catalog-views/sys-column-encryption-keys-transact-sql?view=sql-server-ver15"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query-columns-ssms?view=sql-server-ver15"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develop-using-always-encrypted-with-net-framework-data-provider?view=sql-server-ver15"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migrate-sensitive-data-protected-by-always-encrypted?redirectedfrom=MSDN&amp;view=sql-server-ver15"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migrate-sensitive-data-protected-by-always-encrypted?redirectedfrom=MSDN&amp;view=sql-server-ver15#data-migration-scenario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database-engine?redirectedfrom=MSDN&amp;view=sql-server-ver15"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database-engine?view=sql-server-ver15#typical-scenario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rchive/blogs/sqlsecurity/best-practices-for-moving-data-encrypted-with-always-encrypted"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database-engine?view=sql-server-ver15#database-permissions"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database-engine?view=sql-server-ver15#database-permissions"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database-engine?view=sql-server-ver15"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database-engine?view=sql-server-ver15"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database-engine?view=sql-server-ver15"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overview-of-key-management-for-always-encrypted?view=sql-server-ver15"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overview-of-key-management-for-always-encrypted?view=sql-server-ver15"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database-engine?view=sql-server-ver15#selecting--deterministic-or-randomized-encryption"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87280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gives you an overview of the types of encryption for Always Encrypted and the difference between </a:t>
            </a:r>
            <a:r>
              <a:rPr lang="en-US" b="1" dirty="0"/>
              <a:t>randomized </a:t>
            </a:r>
            <a:r>
              <a:rPr lang="en-US" dirty="0"/>
              <a:t>and</a:t>
            </a:r>
            <a:r>
              <a:rPr lang="en-US" b="1" dirty="0"/>
              <a:t> d</a:t>
            </a:r>
            <a:r>
              <a:rPr lang="en-US" sz="900" b="1" kern="1200" dirty="0">
                <a:solidFill>
                  <a:schemeClr val="tx1"/>
                </a:solidFill>
                <a:effectLst/>
                <a:latin typeface="Segoe UI Light" pitchFamily="34" charset="0"/>
                <a:ea typeface="+mn-ea"/>
                <a:cs typeface="+mn-cs"/>
              </a:rPr>
              <a:t>eterministic encryption</a:t>
            </a:r>
            <a:r>
              <a:rPr lang="en-US" sz="900" b="0" kern="1200" dirty="0">
                <a:solidFill>
                  <a:schemeClr val="tx1"/>
                </a:solidFill>
                <a:effectLst/>
                <a:latin typeface="Segoe UI Light" pitchFamily="34" charset="0"/>
                <a:ea typeface="+mn-ea"/>
                <a:cs typeface="+mn-cs"/>
              </a:rPr>
              <a:t>.</a:t>
            </a:r>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r>
              <a:rPr lang="en-US" sz="900" kern="1200" dirty="0">
                <a:solidFill>
                  <a:schemeClr val="tx1"/>
                </a:solidFill>
                <a:effectLst/>
                <a:latin typeface="Segoe UI Light" pitchFamily="34" charset="0"/>
                <a:ea typeface="+mn-ea"/>
                <a:cs typeface="+mn-cs"/>
              </a:rPr>
              <a:t>Always Encrypted supports two types of encryption: randomized encryption and deterministic encryption.</a:t>
            </a:r>
            <a:endParaRPr lang="en-US" sz="900" b="1" kern="1200" dirty="0">
              <a:solidFill>
                <a:schemeClr val="tx1"/>
              </a:solidFill>
              <a:effectLst/>
              <a:latin typeface="Segoe UI Light" pitchFamily="34" charset="0"/>
              <a:ea typeface="+mn-ea"/>
              <a:cs typeface="+mn-cs"/>
            </a:endParaRPr>
          </a:p>
          <a:p>
            <a:pPr lvl="0"/>
            <a:r>
              <a:rPr lang="en-US" sz="900" b="1" kern="1200" dirty="0">
                <a:solidFill>
                  <a:schemeClr val="tx1"/>
                </a:solidFill>
                <a:effectLst/>
                <a:latin typeface="Segoe UI Light" pitchFamily="34" charset="0"/>
                <a:ea typeface="+mn-ea"/>
                <a:cs typeface="+mn-cs"/>
              </a:rPr>
              <a:t>Randomized encryption </a:t>
            </a:r>
            <a:r>
              <a:rPr lang="en-US" sz="900" kern="1200" dirty="0">
                <a:solidFill>
                  <a:schemeClr val="tx1"/>
                </a:solidFill>
                <a:effectLst/>
                <a:latin typeface="Segoe UI Light" pitchFamily="34" charset="0"/>
                <a:ea typeface="+mn-ea"/>
                <a:cs typeface="+mn-cs"/>
              </a:rPr>
              <a:t>uses a method that encrypts data in a less predictable manner. Randomized encryption is more secure, but prevents equality searches, grouping, indexing, and joining on encrypted columns.</a:t>
            </a:r>
          </a:p>
          <a:p>
            <a:pPr lvl="0"/>
            <a:endParaRPr lang="en-US" sz="900" b="1" kern="1200" dirty="0">
              <a:solidFill>
                <a:schemeClr val="tx1"/>
              </a:solidFill>
              <a:effectLst/>
              <a:latin typeface="Segoe UI Light" pitchFamily="34" charset="0"/>
              <a:ea typeface="+mn-ea"/>
              <a:cs typeface="+mn-cs"/>
            </a:endParaRPr>
          </a:p>
          <a:p>
            <a:pPr lvl="0"/>
            <a:r>
              <a:rPr lang="en-US" sz="900" b="1" kern="1200" dirty="0">
                <a:solidFill>
                  <a:schemeClr val="tx1"/>
                </a:solidFill>
                <a:effectLst/>
                <a:latin typeface="Segoe UI Light" pitchFamily="34" charset="0"/>
                <a:ea typeface="+mn-ea"/>
                <a:cs typeface="+mn-cs"/>
              </a:rPr>
              <a:t>Deterministic encryption</a:t>
            </a:r>
            <a:r>
              <a:rPr lang="en-US" sz="900" kern="1200" dirty="0">
                <a:solidFill>
                  <a:schemeClr val="tx1"/>
                </a:solidFill>
                <a:effectLst/>
                <a:latin typeface="Segoe UI Light" pitchFamily="34" charset="0"/>
                <a:ea typeface="+mn-ea"/>
                <a:cs typeface="+mn-cs"/>
              </a:rPr>
              <a:t> uses a method that always generates the same encrypted value for any given plain text value. Using deterministic encryption allows grouping, filtering by equality, and joining tables based on encrypted values, but can also allow unauthorized users to guess information about encrypted values by examining patterns in the encrypted column. This weakness is increased when there is a small set of possible encrypted values, such as true/false, or north/south/east/west region. Deterministic encryption must use a column collation with a binary2 sort order for character columns.</a:t>
            </a:r>
          </a:p>
          <a:p>
            <a:r>
              <a:rPr lang="en-US" sz="900" kern="1200" dirty="0">
                <a:solidFill>
                  <a:schemeClr val="tx1"/>
                </a:solidFill>
                <a:effectLst/>
                <a:latin typeface="Segoe UI Light" pitchFamily="34" charset="0"/>
                <a:ea typeface="+mn-ea"/>
                <a:cs typeface="+mn-cs"/>
              </a:rPr>
              <a:t>Use deterministic encryption for columns that will be used as search or grouping parameters, for example, a government ID number. Use randomized encryption for data such as confidential investigation comments—which are not grouped with other records or used to join </a:t>
            </a:r>
            <a:r>
              <a:rPr lang="en-US" dirty="0"/>
              <a:t>tables—from </a:t>
            </a:r>
            <a:r>
              <a:rPr lang="en-US" sz="900" kern="1200" dirty="0">
                <a:solidFill>
                  <a:schemeClr val="tx1"/>
                </a:solidFill>
                <a:effectLst/>
                <a:latin typeface="Segoe UI Light" pitchFamily="34" charset="0"/>
                <a:ea typeface="+mn-ea"/>
                <a:cs typeface="+mn-cs"/>
              </a:rPr>
              <a:t>the row that contains the encrypted column of interest.</a:t>
            </a:r>
          </a:p>
          <a:p>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00" kern="1200" dirty="0">
                <a:solidFill>
                  <a:schemeClr val="tx1"/>
                </a:solidFill>
                <a:effectLst/>
                <a:latin typeface="Segoe UI Light" pitchFamily="34" charset="0"/>
                <a:ea typeface="+mn-ea"/>
                <a:cs typeface="+mn-cs"/>
              </a:rPr>
              <a:t> </a:t>
            </a:r>
            <a:r>
              <a:rPr lang="en-US" sz="700" b="1" i="0" dirty="0">
                <a:solidFill>
                  <a:srgbClr val="E3E3E3"/>
                </a:solidFill>
                <a:effectLst/>
                <a:latin typeface="Segoe UI" panose="020B0502040204020203" pitchFamily="34" charset="0"/>
              </a:rPr>
              <a:t>Selecting Deterministic or Randomized Encryption: </a:t>
            </a:r>
            <a:r>
              <a:rPr lang="en-US" sz="800" dirty="0">
                <a:hlinkClick r:id="rId3"/>
              </a:rPr>
              <a:t>https://docs.microsoft.com/en-us/sql/relational-databases/security/encryption/always-encrypted-database-engine?view=sql-server-ver15#selecting--deterministic-or-randomized-encryption</a:t>
            </a:r>
            <a:endParaRPr lang="en-US" sz="700" kern="1200" dirty="0">
              <a:solidFill>
                <a:schemeClr val="tx1"/>
              </a:solidFill>
              <a:effectLst/>
              <a:latin typeface="Segoe UI Light" pitchFamily="34" charset="0"/>
              <a:ea typeface="+mn-ea"/>
              <a:cs typeface="+mn-cs"/>
            </a:endParaRPr>
          </a:p>
          <a:p>
            <a:r>
              <a:rPr lang="en-US" sz="700" kern="1200" dirty="0">
                <a:solidFill>
                  <a:schemeClr val="tx1"/>
                </a:solidFill>
                <a:effectLst/>
                <a:latin typeface="Segoe UI Light" pitchFamily="34" charset="0"/>
                <a:ea typeface="+mn-ea"/>
                <a:cs typeface="+mn-cs"/>
              </a:rPr>
              <a:t> </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4</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6794785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i="0" dirty="0">
                <a:solidFill>
                  <a:srgbClr val="E3E3E3"/>
                </a:solidFill>
                <a:effectLst/>
                <a:latin typeface="Segoe UI" panose="020B0502040204020203" pitchFamily="34" charset="0"/>
              </a:rPr>
              <a:t>Always Encrypted cryptography: </a:t>
            </a:r>
            <a:r>
              <a:rPr lang="en-US" dirty="0">
                <a:hlinkClick r:id="rId3"/>
              </a:rPr>
              <a:t>https://docs.microsoft.com/en-us/sql/relational-databases/security/encryption/always-encrypted-cryptography?view=sql-server-ver15</a:t>
            </a:r>
            <a:endParaRPr lang="en-US" b="1" i="0" dirty="0">
              <a:solidFill>
                <a:srgbClr val="E3E3E3"/>
              </a:solidFill>
              <a:effectLst/>
              <a:latin typeface="Segoe UI" panose="020B0502040204020203" pitchFamily="34" charset="0"/>
            </a:endParaRPr>
          </a:p>
          <a:p>
            <a:endParaRPr lang="en-US" dirty="0"/>
          </a:p>
          <a:p>
            <a:pPr algn="l"/>
            <a:r>
              <a:rPr lang="en-US" b="0" i="0" dirty="0">
                <a:solidFill>
                  <a:srgbClr val="E3E3E3"/>
                </a:solidFill>
                <a:effectLst/>
                <a:latin typeface="Segoe UI" panose="020B0502040204020203" pitchFamily="34" charset="0"/>
              </a:rPr>
              <a:t>Always Encrypted uses the </a:t>
            </a:r>
            <a:r>
              <a:rPr lang="en-US" b="1" i="0" dirty="0">
                <a:solidFill>
                  <a:srgbClr val="E3E3E3"/>
                </a:solidFill>
                <a:effectLst/>
                <a:latin typeface="Segoe UI" panose="020B0502040204020203" pitchFamily="34" charset="0"/>
              </a:rPr>
              <a:t>AEAD_AES_256_CBC_HMAC_SHA_256</a:t>
            </a:r>
            <a:r>
              <a:rPr lang="en-US" b="0" i="0" dirty="0">
                <a:solidFill>
                  <a:srgbClr val="E3E3E3"/>
                </a:solidFill>
                <a:effectLst/>
                <a:latin typeface="Segoe UI" panose="020B0502040204020203" pitchFamily="34" charset="0"/>
              </a:rPr>
              <a:t> algorithm to encrypt data in the database.</a:t>
            </a:r>
          </a:p>
          <a:p>
            <a:pPr algn="l"/>
            <a:r>
              <a:rPr lang="en-US" b="1" i="0" dirty="0">
                <a:solidFill>
                  <a:srgbClr val="E3E3E3"/>
                </a:solidFill>
                <a:effectLst/>
                <a:latin typeface="Segoe UI" panose="020B0502040204020203" pitchFamily="34" charset="0"/>
              </a:rPr>
              <a:t>AEAD_AES_256_CBC_HMAC_SHA_256</a:t>
            </a:r>
            <a:r>
              <a:rPr lang="en-US" b="0" i="0" dirty="0">
                <a:solidFill>
                  <a:srgbClr val="E3E3E3"/>
                </a:solidFill>
                <a:effectLst/>
                <a:latin typeface="Segoe UI" panose="020B0502040204020203" pitchFamily="34" charset="0"/>
              </a:rPr>
              <a:t> is derived from the specification draft at </a:t>
            </a:r>
            <a:r>
              <a:rPr lang="en-US" b="0" i="0" u="sng" dirty="0">
                <a:solidFill>
                  <a:srgbClr val="E3E3E3"/>
                </a:solidFill>
                <a:effectLst/>
                <a:latin typeface="Segoe UI" panose="020B0502040204020203" pitchFamily="34" charset="0"/>
                <a:hlinkClick r:id="rId4"/>
              </a:rPr>
              <a:t>https://tools.ietf.org/html/draft-mcgrew-aead-aes-cbc-hmac-sha2-05</a:t>
            </a:r>
            <a:r>
              <a:rPr lang="en-US" b="0" i="0" dirty="0">
                <a:solidFill>
                  <a:srgbClr val="E3E3E3"/>
                </a:solidFill>
                <a:effectLst/>
                <a:latin typeface="Segoe UI" panose="020B0502040204020203" pitchFamily="34" charset="0"/>
              </a:rPr>
              <a:t>. It uses an Authenticated Encryption scheme with Associated Data, following an Encrypt-then-MAC approach. That is, the plaintext is first encrypted, and the MAC is produced based on the resulting ciphertext.</a:t>
            </a:r>
          </a:p>
          <a:p>
            <a:pPr algn="l"/>
            <a:r>
              <a:rPr lang="en-US" b="0" i="0" dirty="0">
                <a:solidFill>
                  <a:srgbClr val="E3E3E3"/>
                </a:solidFill>
                <a:effectLst/>
                <a:latin typeface="Segoe UI" panose="020B0502040204020203" pitchFamily="34" charset="0"/>
              </a:rPr>
              <a:t>In order to conceal patterns, </a:t>
            </a:r>
            <a:r>
              <a:rPr lang="en-US" b="1" i="0" dirty="0">
                <a:solidFill>
                  <a:srgbClr val="E3E3E3"/>
                </a:solidFill>
                <a:effectLst/>
                <a:latin typeface="Segoe UI" panose="020B0502040204020203" pitchFamily="34" charset="0"/>
              </a:rPr>
              <a:t>AEAD_AES_256_CBC_HMAC_SHA_256</a:t>
            </a:r>
            <a:r>
              <a:rPr lang="en-US" b="0" i="0" dirty="0">
                <a:solidFill>
                  <a:srgbClr val="E3E3E3"/>
                </a:solidFill>
                <a:effectLst/>
                <a:latin typeface="Segoe UI" panose="020B0502040204020203" pitchFamily="34" charset="0"/>
              </a:rPr>
              <a:t> uses the Cipher Block Chaining (CBC) mode of operation, where an initial value is fed into the system named the initialization vector (IV). The full description of the CBC mode can be found at </a:t>
            </a:r>
            <a:r>
              <a:rPr lang="en-US" b="0" i="0" u="sng" dirty="0">
                <a:solidFill>
                  <a:srgbClr val="E3E3E3"/>
                </a:solidFill>
                <a:effectLst/>
                <a:latin typeface="Segoe UI" panose="020B0502040204020203" pitchFamily="34" charset="0"/>
                <a:hlinkClick r:id="rId5"/>
              </a:rPr>
              <a:t>https://csrc.nist.gov/publications/nistpubs/800-38a/sp800-38a.pdf</a:t>
            </a:r>
            <a:r>
              <a:rPr lang="en-US" b="0" i="0" dirty="0">
                <a:solidFill>
                  <a:srgbClr val="E3E3E3"/>
                </a:solidFill>
                <a:effectLst/>
                <a:latin typeface="Segoe UI" panose="020B0502040204020203" pitchFamily="34" charset="0"/>
              </a:rPr>
              <a:t>.</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5</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658341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solidFill>
                  <a:srgbClr val="E3E3E3"/>
                </a:solidFill>
                <a:effectLst/>
                <a:latin typeface="Segoe UI" panose="020B0502040204020203" pitchFamily="34" charset="0"/>
              </a:rPr>
              <a:t>Always Encrypted with secure enclav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3"/>
              </a:rPr>
              <a:t>https://docs.microsoft.com/en-us/sql/relational-databases/security/encryption/always-encrypted-enclaves?view=sql-server-ver15</a:t>
            </a: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0" i="0" dirty="0">
                <a:solidFill>
                  <a:srgbClr val="E3E3E3"/>
                </a:solidFill>
                <a:effectLst/>
                <a:latin typeface="Segoe UI" panose="020B0502040204020203" pitchFamily="34" charset="0"/>
              </a:rPr>
              <a:t>Always Encrypted </a:t>
            </a:r>
            <a:r>
              <a:rPr lang="en-US" b="0" i="1" dirty="0">
                <a:solidFill>
                  <a:srgbClr val="E3E3E3"/>
                </a:solidFill>
                <a:effectLst/>
                <a:latin typeface="Segoe UI" panose="020B0502040204020203" pitchFamily="34" charset="0"/>
              </a:rPr>
              <a:t>with secure enclaves</a:t>
            </a:r>
            <a:r>
              <a:rPr lang="en-US" b="0" i="0" dirty="0">
                <a:solidFill>
                  <a:srgbClr val="E3E3E3"/>
                </a:solidFill>
                <a:effectLst/>
                <a:latin typeface="Segoe UI" panose="020B0502040204020203" pitchFamily="34" charset="0"/>
              </a:rPr>
              <a:t> addresses these limitations by allowing computations on plaintext data inside a secure enclave on the server side. A secure enclave is a protected region of memory within the SQL Server process, and acts as a trusted execution environment for processing sensitive data inside the SQL Server engine. A secure enclave appears as a black box to the rest of the SQL Server and other processes on the hosting machine. There is no way to view any data or code inside the enclave from the outside, even with a debugger.</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0" i="0" dirty="0">
              <a:solidFill>
                <a:srgbClr val="E3E3E3"/>
              </a:solidFill>
              <a:effectLst/>
              <a:latin typeface="Segoe UI" panose="020B0502040204020203" pitchFamily="34" charset="0"/>
            </a:endParaRPr>
          </a:p>
          <a:p>
            <a:pPr algn="l"/>
            <a:r>
              <a:rPr lang="en-US" b="0" i="0" dirty="0">
                <a:solidFill>
                  <a:srgbClr val="E3E3E3"/>
                </a:solidFill>
                <a:effectLst/>
                <a:latin typeface="Segoe UI" panose="020B0502040204020203" pitchFamily="34" charset="0"/>
              </a:rPr>
              <a:t>When parsing an application's query, the SQL Server Engine determines if the query contains any operations on encrypted data that require the use of the secure enclave. For queries where the secure enclave needs to be accessed:</a:t>
            </a:r>
          </a:p>
          <a:p>
            <a:pPr algn="l">
              <a:buFont typeface="Arial" panose="020B0604020202020204" pitchFamily="34" charset="0"/>
              <a:buChar char="•"/>
            </a:pPr>
            <a:r>
              <a:rPr lang="en-US" b="0" i="0" dirty="0">
                <a:solidFill>
                  <a:srgbClr val="E3E3E3"/>
                </a:solidFill>
                <a:effectLst/>
                <a:latin typeface="Segoe UI" panose="020B0502040204020203" pitchFamily="34" charset="0"/>
              </a:rPr>
              <a:t>The client driver sends the column encryption keys required for the operations to the secure enclave (over a secure channel).</a:t>
            </a:r>
          </a:p>
          <a:p>
            <a:pPr algn="l">
              <a:buFont typeface="Arial" panose="020B0604020202020204" pitchFamily="34" charset="0"/>
              <a:buChar char="•"/>
            </a:pPr>
            <a:r>
              <a:rPr lang="en-US" b="0" i="0" dirty="0">
                <a:solidFill>
                  <a:srgbClr val="E3E3E3"/>
                </a:solidFill>
                <a:effectLst/>
                <a:latin typeface="Segoe UI" panose="020B0502040204020203" pitchFamily="34" charset="0"/>
              </a:rPr>
              <a:t>Then, the client driver submits the query for execution along with the encrypted query parameters.</a:t>
            </a:r>
          </a:p>
          <a:p>
            <a:pPr algn="l"/>
            <a:r>
              <a:rPr lang="en-US" b="0" i="0" dirty="0">
                <a:solidFill>
                  <a:srgbClr val="E3E3E3"/>
                </a:solidFill>
                <a:effectLst/>
                <a:latin typeface="Segoe UI" panose="020B0502040204020203" pitchFamily="34" charset="0"/>
              </a:rPr>
              <a:t>During query processing, the data or the column encryption keys are not exposed in plaintext in the SQL Server Engine outside of the secure enclave. The SQL Server Engine delegates cryptographic operations and computations on encrypted columns to the secure enclave. If needed, the secure enclave decrypts the query parameters and/or the data stored in encrypted columns and performs the requested operations.</a:t>
            </a:r>
          </a:p>
          <a:p>
            <a:pPr algn="l"/>
            <a:r>
              <a:rPr lang="en-US" b="0" i="0" dirty="0">
                <a:solidFill>
                  <a:srgbClr val="E3E3E3"/>
                </a:solidFill>
                <a:effectLst/>
                <a:latin typeface="Segoe UI" panose="020B0502040204020203" pitchFamily="34" charset="0"/>
              </a:rPr>
              <a:t>In SQL Server 2019 (15.x), Always Encrypted with secure enclaves uses </a:t>
            </a:r>
            <a:r>
              <a:rPr lang="en-US" b="0" i="0" u="sng" dirty="0">
                <a:solidFill>
                  <a:srgbClr val="E3E3E3"/>
                </a:solidFill>
                <a:effectLst/>
                <a:latin typeface="Segoe UI" panose="020B0502040204020203" pitchFamily="34" charset="0"/>
                <a:hlinkClick r:id="rId4"/>
              </a:rPr>
              <a:t>Virtualization-based Security (VBS)</a:t>
            </a:r>
            <a:r>
              <a:rPr lang="en-US" b="0" i="0" dirty="0">
                <a:solidFill>
                  <a:srgbClr val="E3E3E3"/>
                </a:solidFill>
                <a:effectLst/>
                <a:latin typeface="Segoe UI" panose="020B0502040204020203" pitchFamily="34" charset="0"/>
              </a:rPr>
              <a:t> secure memory enclaves (also known as Virtual Secure Mode, or VSM enclaves) in Window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i="0" dirty="0">
              <a:solidFill>
                <a:srgbClr val="E3E3E3"/>
              </a:solidFill>
              <a:effectLst/>
              <a:latin typeface="Segoe UI" panose="020B0502040204020203" pitchFamily="34" charset="0"/>
            </a:endParaRPr>
          </a:p>
        </p:txBody>
      </p:sp>
    </p:spTree>
    <p:extLst>
      <p:ext uri="{BB962C8B-B14F-4D97-AF65-F5344CB8AC3E}">
        <p14:creationId xmlns:p14="http://schemas.microsoft.com/office/powerpoint/2010/main" val="24358898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err="1">
                <a:solidFill>
                  <a:srgbClr val="E3E3E3"/>
                </a:solidFill>
                <a:effectLst/>
                <a:latin typeface="Segoe UI" panose="020B0502040204020203" pitchFamily="34" charset="0"/>
              </a:rPr>
              <a:t>sys.column_master_keys</a:t>
            </a:r>
            <a:r>
              <a:rPr lang="en-US" b="1" i="0" dirty="0">
                <a:solidFill>
                  <a:srgbClr val="E3E3E3"/>
                </a:solidFill>
                <a:effectLst/>
                <a:latin typeface="Segoe UI" panose="020B0502040204020203" pitchFamily="34" charset="0"/>
              </a:rPr>
              <a:t> (Transact-SQL):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3"/>
              </a:rPr>
              <a:t>https://docs.microsoft.com/en-us/sql/relational-databases/system-catalog-views/sys-column-master-keys-transact-sql?view=sql-server-ver15</a:t>
            </a: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err="1">
                <a:solidFill>
                  <a:srgbClr val="E3E3E3"/>
                </a:solidFill>
                <a:effectLst/>
                <a:latin typeface="Segoe UI" panose="020B0502040204020203" pitchFamily="34" charset="0"/>
              </a:rPr>
              <a:t>sys.column_encryption_keys</a:t>
            </a:r>
            <a:r>
              <a:rPr lang="en-US" b="1" i="0" dirty="0">
                <a:solidFill>
                  <a:srgbClr val="E3E3E3"/>
                </a:solidFill>
                <a:effectLst/>
                <a:latin typeface="Segoe UI" panose="020B0502040204020203" pitchFamily="34" charset="0"/>
              </a:rPr>
              <a:t> (Transact-SQL):</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4"/>
              </a:rPr>
              <a:t>https://docs.microsoft.com/en-us/sql/relational-databases/system-catalog-views/sys-column-encryption-keys-transact-sql?view=sql-server-ver15</a:t>
            </a: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err="1">
                <a:solidFill>
                  <a:srgbClr val="E3E3E3"/>
                </a:solidFill>
                <a:effectLst/>
                <a:latin typeface="Segoe UI" panose="020B0502040204020203" pitchFamily="34" charset="0"/>
              </a:rPr>
              <a:t>sys.column_encryption_key_values</a:t>
            </a:r>
            <a:r>
              <a:rPr lang="en-US" b="1" i="0" dirty="0">
                <a:solidFill>
                  <a:srgbClr val="E3E3E3"/>
                </a:solidFill>
                <a:effectLst/>
                <a:latin typeface="Segoe UI" panose="020B0502040204020203" pitchFamily="34" charset="0"/>
              </a:rPr>
              <a:t> (Transact-SQL):</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solidFill>
                  <a:srgbClr val="E3E3E3"/>
                </a:solidFill>
                <a:effectLst/>
                <a:latin typeface="Segoe UI" panose="020B0502040204020203" pitchFamily="34" charset="0"/>
              </a:rPr>
              <a:t> </a:t>
            </a:r>
            <a:r>
              <a:rPr lang="en-US" dirty="0">
                <a:hlinkClick r:id="rId5"/>
              </a:rPr>
              <a:t>https://docs.microsoft.com/en-us/sql/relational-databases/system-catalog-views/sys-column-encryption-key-values-transact-sql?view=sql-server-ver15</a:t>
            </a:r>
            <a:endParaRPr lang="en-US" b="1" i="0" dirty="0">
              <a:solidFill>
                <a:srgbClr val="E3E3E3"/>
              </a:solidFill>
              <a:effectLst/>
              <a:latin typeface="Segoe UI" panose="020B0502040204020203" pitchFamily="34" charset="0"/>
            </a:endParaRPr>
          </a:p>
          <a:p>
            <a:endParaRPr lang="en-US" dirty="0"/>
          </a:p>
        </p:txBody>
      </p:sp>
    </p:spTree>
    <p:extLst>
      <p:ext uri="{BB962C8B-B14F-4D97-AF65-F5344CB8AC3E}">
        <p14:creationId xmlns:p14="http://schemas.microsoft.com/office/powerpoint/2010/main" val="22757524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err="1">
                <a:solidFill>
                  <a:srgbClr val="E3E3E3"/>
                </a:solidFill>
                <a:effectLst/>
                <a:latin typeface="Segoe UI" panose="020B0502040204020203" pitchFamily="34" charset="0"/>
              </a:rPr>
              <a:t>sys.column_master_keys</a:t>
            </a:r>
            <a:r>
              <a:rPr lang="en-US" b="1" i="0" dirty="0">
                <a:solidFill>
                  <a:srgbClr val="E3E3E3"/>
                </a:solidFill>
                <a:effectLst/>
                <a:latin typeface="Segoe UI" panose="020B0502040204020203" pitchFamily="34" charset="0"/>
              </a:rPr>
              <a:t> (Transact-SQL):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3"/>
              </a:rPr>
              <a:t>https://docs.microsoft.com/en-us/sql/relational-databases/system-catalog-views/sys-column-master-keys-transact-sql?view=sql-server-ver15</a:t>
            </a: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err="1">
                <a:solidFill>
                  <a:srgbClr val="E3E3E3"/>
                </a:solidFill>
                <a:effectLst/>
                <a:latin typeface="Segoe UI" panose="020B0502040204020203" pitchFamily="34" charset="0"/>
              </a:rPr>
              <a:t>sys.column_encryption_keys</a:t>
            </a:r>
            <a:r>
              <a:rPr lang="en-US" b="1" i="0" dirty="0">
                <a:solidFill>
                  <a:srgbClr val="E3E3E3"/>
                </a:solidFill>
                <a:effectLst/>
                <a:latin typeface="Segoe UI" panose="020B0502040204020203" pitchFamily="34" charset="0"/>
              </a:rPr>
              <a:t> (Transact-SQL):</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4"/>
              </a:rPr>
              <a:t>https://docs.microsoft.com/en-us/sql/relational-databases/system-catalog-views/sys-column-encryption-keys-transact-sql?view=sql-server-ver15</a:t>
            </a: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err="1">
                <a:solidFill>
                  <a:srgbClr val="E3E3E3"/>
                </a:solidFill>
                <a:effectLst/>
                <a:latin typeface="Segoe UI" panose="020B0502040204020203" pitchFamily="34" charset="0"/>
              </a:rPr>
              <a:t>sys.column_encryption_key_values</a:t>
            </a:r>
            <a:r>
              <a:rPr lang="en-US" b="1" i="0" dirty="0">
                <a:solidFill>
                  <a:srgbClr val="E3E3E3"/>
                </a:solidFill>
                <a:effectLst/>
                <a:latin typeface="Segoe UI" panose="020B0502040204020203" pitchFamily="34" charset="0"/>
              </a:rPr>
              <a:t> (Transact-SQL):</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solidFill>
                  <a:srgbClr val="E3E3E3"/>
                </a:solidFill>
                <a:effectLst/>
                <a:latin typeface="Segoe UI" panose="020B0502040204020203" pitchFamily="34" charset="0"/>
              </a:rPr>
              <a:t> </a:t>
            </a:r>
            <a:r>
              <a:rPr lang="en-US" dirty="0">
                <a:hlinkClick r:id="rId5"/>
              </a:rPr>
              <a:t>https://docs.microsoft.com/en-us/sql/relational-databases/system-catalog-views/sys-column-encryption-key-values-transact-sql?view=sql-server-ver15</a:t>
            </a:r>
            <a:endParaRPr lang="en-US" b="1" i="0" dirty="0">
              <a:solidFill>
                <a:srgbClr val="E3E3E3"/>
              </a:solidFill>
              <a:effectLst/>
              <a:latin typeface="Segoe UI" panose="020B0502040204020203" pitchFamily="34" charset="0"/>
            </a:endParaRPr>
          </a:p>
          <a:p>
            <a:endParaRPr lang="en-US" dirty="0"/>
          </a:p>
        </p:txBody>
      </p:sp>
    </p:spTree>
    <p:extLst>
      <p:ext uri="{BB962C8B-B14F-4D97-AF65-F5344CB8AC3E}">
        <p14:creationId xmlns:p14="http://schemas.microsoft.com/office/powerpoint/2010/main" val="37355823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solidFill>
                  <a:srgbClr val="E3E3E3"/>
                </a:solidFill>
                <a:effectLst/>
                <a:latin typeface="Segoe UI" panose="020B0502040204020203" pitchFamily="34" charset="0"/>
              </a:rPr>
              <a:t>Query columns using Always Encrypted with SQL Server Management Studio:</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3"/>
              </a:rPr>
              <a:t>https://docs.microsoft.com/en-us/sql/relational-databases/security/encryption/always-encrypted-query-columns-ssms?view=sql-server-ver15</a:t>
            </a:r>
            <a:endParaRPr lang="en-US" b="1" i="0" dirty="0">
              <a:solidFill>
                <a:srgbClr val="E3E3E3"/>
              </a:solidFill>
              <a:effectLst/>
              <a:latin typeface="Segoe UI" panose="020B0502040204020203" pitchFamily="34" charset="0"/>
            </a:endParaRPr>
          </a:p>
          <a:p>
            <a:endParaRPr lang="en-US" dirty="0"/>
          </a:p>
        </p:txBody>
      </p:sp>
    </p:spTree>
    <p:extLst>
      <p:ext uri="{BB962C8B-B14F-4D97-AF65-F5344CB8AC3E}">
        <p14:creationId xmlns:p14="http://schemas.microsoft.com/office/powerpoint/2010/main" val="40709884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solidFill>
                  <a:srgbClr val="E3E3E3"/>
                </a:solidFill>
                <a:effectLst/>
                <a:latin typeface="Segoe UI" panose="020B0502040204020203" pitchFamily="34" charset="0"/>
              </a:rPr>
              <a:t>Using Always Encrypted with the .NET Framework Data Provider for SQL Server:</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3"/>
              </a:rPr>
              <a:t>https://docs.microsoft.com/en-us/sql/relational-databases/security/encryption/develop-using-always-encrypted-with-net-framework-data-provider?view=sql-server-ver15</a:t>
            </a:r>
            <a:endParaRPr lang="en-US" b="1" i="0" dirty="0">
              <a:solidFill>
                <a:srgbClr val="E3E3E3"/>
              </a:solidFill>
              <a:effectLst/>
              <a:latin typeface="Segoe UI" panose="020B0502040204020203" pitchFamily="34" charset="0"/>
            </a:endParaRPr>
          </a:p>
          <a:p>
            <a:endParaRPr lang="en-US" dirty="0"/>
          </a:p>
          <a:p>
            <a:r>
              <a:rPr lang="en-US" b="0" i="0" dirty="0">
                <a:solidFill>
                  <a:srgbClr val="E3E3E3"/>
                </a:solidFill>
                <a:effectLst/>
                <a:latin typeface="Segoe UI" panose="020B0502040204020203" pitchFamily="34" charset="0"/>
              </a:rPr>
              <a:t>Always Encrypted allows client applications to encrypt sensitive data and never reveal the data or the encryption keys to SQL Server or Azure SQL Database. An Always Encrypted enabled driver, such as the .NET Framework Data Provider for SQL Server, achieves this by transparently encrypting and decrypting sensitive data in the client application. The driver automatically determines which query parameters correspond to sensitive database columns (protected using Always Encrypted), and encrypts the values of those parameters before passing the data to SQL Server or Azure SQL Database.</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1</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0332265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helps you understand various </a:t>
            </a:r>
            <a:r>
              <a:rPr lang="en-US" sz="900" b="0" kern="1200" dirty="0">
                <a:solidFill>
                  <a:schemeClr val="tx1"/>
                </a:solidFill>
                <a:effectLst/>
                <a:latin typeface="Segoe UI Light" pitchFamily="34" charset="0"/>
                <a:ea typeface="+mn-ea"/>
                <a:cs typeface="+mn-cs"/>
              </a:rPr>
              <a:t>data </a:t>
            </a:r>
            <a:r>
              <a:rPr lang="en-US" dirty="0"/>
              <a:t>m</a:t>
            </a:r>
            <a:r>
              <a:rPr lang="en-US" sz="900" b="0" kern="1200" dirty="0">
                <a:solidFill>
                  <a:schemeClr val="tx1"/>
                </a:solidFill>
                <a:effectLst/>
                <a:latin typeface="Segoe UI Light" pitchFamily="34" charset="0"/>
                <a:ea typeface="+mn-ea"/>
                <a:cs typeface="+mn-cs"/>
              </a:rPr>
              <a:t>igration scenarios and recommended settings.</a:t>
            </a:r>
            <a:br>
              <a:rPr lang="en-US" sz="900" b="0" kern="1200" dirty="0">
                <a:solidFill>
                  <a:schemeClr val="tx1"/>
                </a:solidFill>
                <a:effectLst/>
                <a:latin typeface="Segoe UI Light" pitchFamily="34" charset="0"/>
                <a:ea typeface="+mn-ea"/>
                <a:cs typeface="+mn-cs"/>
              </a:rPr>
            </a:br>
            <a:r>
              <a:rPr lang="en-US" sz="900" kern="1200" dirty="0">
                <a:solidFill>
                  <a:schemeClr val="tx1"/>
                </a:solidFill>
                <a:effectLst/>
                <a:latin typeface="Segoe UI Light" pitchFamily="34" charset="0"/>
                <a:ea typeface="+mn-ea"/>
                <a:cs typeface="+mn-cs"/>
              </a:rPr>
              <a:t> </a:t>
            </a:r>
          </a:p>
          <a:p>
            <a:pPr algn="l"/>
            <a:r>
              <a:rPr lang="en-US" sz="2000" b="1" i="0" dirty="0">
                <a:solidFill>
                  <a:srgbClr val="E3E3E3"/>
                </a:solidFill>
                <a:effectLst/>
                <a:latin typeface="Segoe UI" panose="020B0502040204020203" pitchFamily="34" charset="0"/>
              </a:rPr>
              <a:t>Bulk load encrypted data to columns using Always Encrypted: </a:t>
            </a:r>
          </a:p>
          <a:p>
            <a:r>
              <a:rPr lang="en-US" sz="2000" dirty="0">
                <a:hlinkClick r:id="rId3"/>
              </a:rPr>
              <a:t>https://docs.microsoft.com/en-us/sql/relational-databases/security/encryption/migrate-sensitive-data-protected-by-always-encrypted?redirectedfrom=MSDN&amp;view=sql-server-ver15</a:t>
            </a:r>
            <a:endParaRPr lang="en-US" sz="2000" dirty="0"/>
          </a:p>
          <a:p>
            <a:endParaRPr lang="en-US" sz="900" b="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table shows the recommended settings appropriate for several migration scenario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o load encrypted data without performing metadata checks on the server during bulk copy operations, create the user with the </a:t>
            </a:r>
            <a:r>
              <a:rPr lang="en-US" sz="900" b="1" kern="1200" dirty="0">
                <a:solidFill>
                  <a:schemeClr val="tx1"/>
                </a:solidFill>
                <a:effectLst/>
                <a:latin typeface="Segoe UI Light" pitchFamily="34" charset="0"/>
                <a:ea typeface="+mn-ea"/>
                <a:cs typeface="+mn-cs"/>
              </a:rPr>
              <a:t>ALLOW_ENCRYPTED_VALUE_MODIFICATIONS</a:t>
            </a:r>
            <a:r>
              <a:rPr lang="en-US" sz="900" kern="1200" dirty="0">
                <a:solidFill>
                  <a:schemeClr val="tx1"/>
                </a:solidFill>
                <a:effectLst/>
                <a:latin typeface="Segoe UI Light" pitchFamily="34" charset="0"/>
                <a:ea typeface="+mn-ea"/>
                <a:cs typeface="+mn-cs"/>
              </a:rPr>
              <a:t> option.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Both CREATE USER and ALTER USER have an ALLOW_ENCRYPTED_VALUE_MODIFICATIONS option. When set to ON (the default is OFF), this option suppresses cryptographic metadata checks on the server in bulk copy operations, which enables the user to bulk copy encrypted data between tables or databases, without decrypting the data.</a:t>
            </a:r>
          </a:p>
          <a:p>
            <a:pPr marL="171450" lvl="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2</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40401516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highlights best practices for Always Encrypted.</a:t>
            </a:r>
          </a:p>
          <a:p>
            <a:pPr algn="l"/>
            <a:r>
              <a:rPr lang="en-US" sz="800" b="1" i="0" dirty="0">
                <a:solidFill>
                  <a:srgbClr val="E3E3E3"/>
                </a:solidFill>
                <a:effectLst/>
                <a:latin typeface="Segoe UI" panose="020B0502040204020203" pitchFamily="34" charset="0"/>
              </a:rPr>
              <a:t>Data Migration Scenarios: </a:t>
            </a:r>
          </a:p>
          <a:p>
            <a:r>
              <a:rPr lang="en-US" sz="900" dirty="0">
                <a:hlinkClick r:id="rId3"/>
              </a:rPr>
              <a:t>https://docs.microsoft.com/en-us/sql/relational-databases/security/encryption/migrate-sensitive-data-protected-by-always-encrypted?redirectedfrom=MSDN&amp;view=sql-server-ver15#data-migration-scenarios</a:t>
            </a:r>
            <a:endParaRPr lang="en-US" sz="900" dirty="0"/>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endParaRPr lang="en-US" sz="900" b="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Use designated user accounts for long-running workloads employing this option.</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For short-running bulk copy applications or tools that need to move encrypted data without decrypting it, set the option to ON immediately before running the application and set it back to OFF immediately after running the operation.</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Do not use this option for developing new applications. Instead, use a client driver (such as ADO 4.6.1) that offers an API for suppressing cryptographic metadata checks for a single session.</a:t>
            </a:r>
          </a:p>
          <a:p>
            <a:pPr marL="171450" lvl="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3</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3758563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explains the details of the types and purpose of encryption in Always Encrypted.</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pPr lvl="0"/>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Queries can perform equality comparison on columns encrypted by using deterministic encryption, but no other operations (for</a:t>
            </a:r>
            <a:r>
              <a:rPr lang="en-US" sz="900" kern="1200" baseline="0" dirty="0">
                <a:solidFill>
                  <a:schemeClr val="tx1"/>
                </a:solidFill>
                <a:effectLst/>
                <a:latin typeface="Segoe UI Light" pitchFamily="34" charset="0"/>
                <a:ea typeface="+mn-ea"/>
                <a:cs typeface="+mn-cs"/>
              </a:rPr>
              <a:t> example</a:t>
            </a:r>
            <a:r>
              <a:rPr lang="en-US" sz="900" kern="1200" dirty="0">
                <a:solidFill>
                  <a:schemeClr val="tx1"/>
                </a:solidFill>
                <a:effectLst/>
                <a:latin typeface="Segoe UI Light" pitchFamily="34" charset="0"/>
                <a:ea typeface="+mn-ea"/>
                <a:cs typeface="+mn-cs"/>
              </a:rPr>
              <a:t>, greater/less than, pattern matching using the LIKE operator, or arithmetical operations). Using deterministic encryption allows grouping, filtering by equality, and joining tables based on encrypted values, but can also allow unauthorized users to guess information about encrypted values by examining patterns in the encrypted column.</a:t>
            </a:r>
          </a:p>
          <a:p>
            <a:pPr lvl="0"/>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Randomized encryption is more secure, but prevents equality searches, grouping, indexing, and joining on encrypted columns. Queries on columns encrypted by using randomized encryption can’t perform operations on any of those columns. Indexing columns encrypted using randomized encryption is not supported.</a:t>
            </a:r>
          </a:p>
          <a:p>
            <a:pPr lvl="0"/>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A column encryption key can have up to two different encrypted values, each encrypted with a different column master key value. This permits column master key rotation.</a:t>
            </a:r>
          </a:p>
          <a:p>
            <a:pPr lvl="0"/>
            <a:r>
              <a:rPr lang="en-US" sz="900" kern="1200" dirty="0">
                <a:solidFill>
                  <a:schemeClr val="tx1"/>
                </a:solidFill>
                <a:effectLst/>
                <a:latin typeface="Segoe UI Light" pitchFamily="34" charset="0"/>
                <a:ea typeface="+mn-ea"/>
                <a:cs typeface="+mn-cs"/>
              </a:rPr>
              <a:t>Deterministic encryption requires a column to have one of the binary2 collations.</a:t>
            </a:r>
          </a:p>
          <a:p>
            <a:pPr lvl="0"/>
            <a:endParaRPr lang="en-US" sz="900" kern="1200" dirty="0">
              <a:solidFill>
                <a:schemeClr val="tx1"/>
              </a:solidFill>
              <a:effectLst/>
              <a:latin typeface="Segoe UI Light" pitchFamily="34" charset="0"/>
              <a:ea typeface="+mn-ea"/>
              <a:cs typeface="+mn-cs"/>
            </a:endParaRPr>
          </a:p>
          <a:p>
            <a:r>
              <a:rPr lang="en-US" sz="900" b="1" dirty="0"/>
              <a:t>Source: </a:t>
            </a:r>
            <a:r>
              <a:rPr lang="en-US" sz="900" dirty="0">
                <a:hlinkClick r:id="rId3"/>
              </a:rPr>
              <a:t>https://docs.microsoft.com/en-us/sql/relational-databases/security/encryption/always-encrypted-database-engine?redirectedfrom=MSDN&amp;view=sql-server-ver15</a:t>
            </a:r>
            <a:endParaRPr lang="en-US" sz="900" dirty="0"/>
          </a:p>
          <a:p>
            <a:endParaRPr lang="en-US" sz="900" dirty="0"/>
          </a:p>
          <a:p>
            <a:pPr lvl="0"/>
            <a:endParaRPr lang="en-US" sz="900" kern="1200" dirty="0">
              <a:solidFill>
                <a:schemeClr val="tx1"/>
              </a:solidFill>
              <a:effectLst/>
              <a:latin typeface="Segoe UI Light" pitchFamily="34" charset="0"/>
              <a:ea typeface="+mn-ea"/>
              <a:cs typeface="+mn-cs"/>
            </a:endParaRPr>
          </a:p>
          <a:p>
            <a:pPr lvl="0"/>
            <a:endParaRPr lang="en-US" sz="900" kern="1200" dirty="0">
              <a:solidFill>
                <a:schemeClr val="tx1"/>
              </a:solidFill>
              <a:effectLst/>
              <a:latin typeface="Segoe UI Light" pitchFamily="34" charset="0"/>
              <a:ea typeface="+mn-ea"/>
              <a:cs typeface="+mn-cs"/>
            </a:endParaRPr>
          </a:p>
          <a:p>
            <a:pPr lvl="0"/>
            <a:endParaRPr lang="en-US" sz="900" kern="1200" dirty="0">
              <a:solidFill>
                <a:schemeClr val="tx1"/>
              </a:solidFill>
              <a:effectLst/>
              <a:latin typeface="Segoe UI Light" pitchFamily="34" charset="0"/>
              <a:ea typeface="+mn-ea"/>
              <a:cs typeface="+mn-cs"/>
            </a:endParaRPr>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4</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64776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32500" lnSpcReduction="20000"/>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gives you an overview of typical scenarios of Always Encrypted, and what can be used in it.</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3E3E3"/>
                </a:solidFill>
                <a:effectLst/>
                <a:latin typeface="Segoe UI" panose="020B0502040204020203" pitchFamily="34" charset="0"/>
              </a:rPr>
              <a:t>Typical Scenarios: </a:t>
            </a:r>
            <a:r>
              <a:rPr lang="en-US" sz="9600" dirty="0">
                <a:hlinkClick r:id="rId3"/>
              </a:rPr>
              <a:t>https://docs.microsoft.com/en-us/sql/relational-databases/security/encryption/always-encrypted-database-engine?view=sql-server-ver15#typical-scenarios</a:t>
            </a:r>
            <a:endParaRPr lang="en-US" sz="2000" b="1" i="0" dirty="0">
              <a:solidFill>
                <a:srgbClr val="E3E3E3"/>
              </a:solidFill>
              <a:effectLst/>
              <a:latin typeface="Segoe UI" panose="020B0502040204020203" pitchFamily="34" charset="0"/>
            </a:endParaRP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a:t>
            </a:r>
            <a:r>
              <a:rPr lang="en-US" b="1" dirty="0"/>
              <a:t>s</a:t>
            </a:r>
            <a:r>
              <a:rPr lang="en-US" b="0" dirty="0"/>
              <a:t>:</a:t>
            </a:r>
          </a:p>
          <a:p>
            <a:r>
              <a:rPr lang="en-US" sz="900" kern="1200" dirty="0">
                <a:solidFill>
                  <a:schemeClr val="tx1"/>
                </a:solidFill>
                <a:effectLst/>
                <a:latin typeface="Segoe UI Light" pitchFamily="34" charset="0"/>
                <a:ea typeface="+mn-ea"/>
                <a:cs typeface="+mn-cs"/>
              </a:rPr>
              <a:t>Always Encrypted is a feature designed to protect sensitive data, such as credit card numbers or national identification numbers (for</a:t>
            </a:r>
            <a:r>
              <a:rPr lang="en-US" sz="900" kern="1200" baseline="0" dirty="0">
                <a:solidFill>
                  <a:schemeClr val="tx1"/>
                </a:solidFill>
                <a:effectLst/>
                <a:latin typeface="Segoe UI Light" pitchFamily="34" charset="0"/>
                <a:ea typeface="+mn-ea"/>
                <a:cs typeface="+mn-cs"/>
              </a:rPr>
              <a:t> example</a:t>
            </a:r>
            <a:r>
              <a:rPr lang="en-US" sz="900" kern="1200" dirty="0">
                <a:solidFill>
                  <a:schemeClr val="tx1"/>
                </a:solidFill>
                <a:effectLst/>
                <a:latin typeface="Segoe UI Light" pitchFamily="34" charset="0"/>
                <a:ea typeface="+mn-ea"/>
                <a:cs typeface="+mn-cs"/>
              </a:rPr>
              <a:t>, U.S. Social Security numbers), stored in Azure SQL Database or SQL Server databases.</a:t>
            </a:r>
          </a:p>
          <a:p>
            <a:r>
              <a:rPr lang="en-US" sz="900" kern="1200" dirty="0">
                <a:solidFill>
                  <a:schemeClr val="tx1"/>
                </a:solidFill>
                <a:effectLst/>
                <a:latin typeface="Segoe UI Light" pitchFamily="34" charset="0"/>
                <a:ea typeface="+mn-ea"/>
                <a:cs typeface="+mn-cs"/>
              </a:rPr>
              <a:t>Here are some scenarios:</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Client and </a:t>
            </a:r>
            <a:r>
              <a:rPr lang="en-US" sz="900" b="1" dirty="0">
                <a:latin typeface="Segoe UI Light" pitchFamily="34" charset="0"/>
              </a:rPr>
              <a:t>data on-premises</a:t>
            </a:r>
          </a:p>
          <a:p>
            <a:r>
              <a:rPr lang="en-US" sz="900" kern="1200" dirty="0">
                <a:solidFill>
                  <a:schemeClr val="tx1"/>
                </a:solidFill>
                <a:effectLst/>
                <a:latin typeface="Segoe UI Light" pitchFamily="34" charset="0"/>
                <a:ea typeface="+mn-ea"/>
                <a:cs typeface="+mn-cs"/>
              </a:rPr>
              <a:t>The customer wants to hire an external vendor to administer SQL Server. In order to protect sensitive data stored in SQL Server, the customer uses Always Encrypted to ensure the separation of duties between database administrators and application administrators. The customer stores plaintext values of Always Encrypted keys in a trusted key store that the client application can access. SQL Server administrators have no access to the keys and, therefore, are unable to decrypt sensitive data stored in SQL Server.</a:t>
            </a:r>
            <a:endParaRPr lang="en-US" sz="900" b="1" kern="1200" dirty="0">
              <a:solidFill>
                <a:schemeClr val="tx1"/>
              </a:solidFill>
              <a:effectLst/>
              <a:latin typeface="Segoe UI Light" pitchFamily="34" charset="0"/>
              <a:ea typeface="+mn-ea"/>
              <a:cs typeface="+mn-cs"/>
            </a:endParaRP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Client on-premises with data in Azure</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application operates on sensitive data stored in a database hosted in Azure (SQL Database or SQL Server running in a virtual machine on Microsoft Azure). The customer uses Always Encrypted and stores Always Encrypted keys in a trusted key store hosted on-premises, to ensure Microsoft cloud administrators have no access to sensitive data.</a:t>
            </a:r>
            <a:endParaRPr lang="en-US" sz="900" b="1" kern="1200" dirty="0">
              <a:solidFill>
                <a:schemeClr val="tx1"/>
              </a:solidFill>
              <a:effectLst/>
              <a:latin typeface="Segoe UI Light" pitchFamily="34" charset="0"/>
              <a:ea typeface="+mn-ea"/>
              <a:cs typeface="+mn-cs"/>
            </a:endParaRP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Client and data in Azure</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customer uses Always Encrypted to reduce security-attack surface area (the data is always encrypted in the database and on the machine hosting the database).</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6</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0610357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b="1" kern="1200" dirty="0">
                <a:solidFill>
                  <a:schemeClr val="tx1"/>
                </a:solidFill>
                <a:effectLst/>
                <a:latin typeface="Segoe UI Light" pitchFamily="34" charset="0"/>
                <a:ea typeface="+mn-ea"/>
                <a:cs typeface="+mn-cs"/>
              </a:rPr>
              <a:t>Objective</a:t>
            </a:r>
            <a:r>
              <a:rPr lang="en-US" kern="1200" dirty="0">
                <a:solidFill>
                  <a:schemeClr val="tx1"/>
                </a:solidFill>
                <a:effectLst/>
                <a:latin typeface="Segoe UI Light" pitchFamily="34" charset="0"/>
                <a:ea typeface="+mn-ea"/>
                <a:cs typeface="+mn-cs"/>
              </a:rPr>
              <a:t>: </a:t>
            </a:r>
            <a:r>
              <a:rPr lang="en-US" sz="900" dirty="0">
                <a:latin typeface="Segoe UI Light" pitchFamily="34" charset="0"/>
              </a:rPr>
              <a:t>T</a:t>
            </a:r>
            <a:r>
              <a:rPr lang="en-US" sz="900" kern="1200" dirty="0">
                <a:solidFill>
                  <a:schemeClr val="tx1"/>
                </a:solidFill>
                <a:effectLst/>
                <a:latin typeface="Segoe UI Light" pitchFamily="34" charset="0"/>
                <a:ea typeface="+mn-ea"/>
                <a:cs typeface="+mn-cs"/>
              </a:rPr>
              <a:t>his slide includes some general limitations of Always Encrypted.</a:t>
            </a:r>
            <a:br>
              <a:rPr lang="en-US" sz="900" kern="1200" dirty="0">
                <a:solidFill>
                  <a:schemeClr val="tx1"/>
                </a:solidFill>
                <a:effectLst/>
                <a:latin typeface="Segoe UI Light" pitchFamily="34" charset="0"/>
                <a:ea typeface="+mn-ea"/>
                <a:cs typeface="+mn-cs"/>
              </a:rPr>
            </a:br>
            <a:endParaRPr lang="en-US" sz="105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r>
              <a:rPr lang="en-US" sz="900" kern="1200" dirty="0">
                <a:solidFill>
                  <a:schemeClr val="tx1"/>
                </a:solidFill>
                <a:effectLst/>
                <a:latin typeface="Segoe UI Light" pitchFamily="34" charset="0"/>
                <a:ea typeface="+mn-ea"/>
                <a:cs typeface="+mn-cs"/>
              </a:rPr>
              <a:t>If a column is encrypted, then all range-related operations such as greater/less than, pattern matching using LIKE, etc. are disallowed. Furthermore, you can’t pass encrypted values to functions, user-defined or otherwise, because the database doesn’t have access to the unencrypted value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Unsupported data types include xml, </a:t>
            </a:r>
            <a:r>
              <a:rPr lang="en-US" sz="900" kern="1200" dirty="0" err="1">
                <a:solidFill>
                  <a:schemeClr val="tx1"/>
                </a:solidFill>
                <a:effectLst/>
                <a:latin typeface="Segoe UI Light" pitchFamily="34" charset="0"/>
                <a:ea typeface="+mn-ea"/>
                <a:cs typeface="+mn-cs"/>
              </a:rPr>
              <a:t>rowversion</a:t>
            </a:r>
            <a:r>
              <a:rPr lang="en-US" sz="900" kern="1200" dirty="0">
                <a:solidFill>
                  <a:schemeClr val="tx1"/>
                </a:solidFill>
                <a:effectLst/>
                <a:latin typeface="Segoe UI Light" pitchFamily="34" charset="0"/>
                <a:ea typeface="+mn-ea"/>
                <a:cs typeface="+mn-cs"/>
              </a:rPr>
              <a:t>, image, </a:t>
            </a:r>
            <a:r>
              <a:rPr lang="en-US" sz="900" kern="1200" dirty="0" err="1">
                <a:solidFill>
                  <a:schemeClr val="tx1"/>
                </a:solidFill>
                <a:effectLst/>
                <a:latin typeface="Segoe UI Light" pitchFamily="34" charset="0"/>
                <a:ea typeface="+mn-ea"/>
                <a:cs typeface="+mn-cs"/>
              </a:rPr>
              <a:t>ntext</a:t>
            </a:r>
            <a:r>
              <a:rPr lang="en-US" sz="900" kern="1200" dirty="0">
                <a:solidFill>
                  <a:schemeClr val="tx1"/>
                </a:solidFill>
                <a:effectLst/>
                <a:latin typeface="Segoe UI Light" pitchFamily="34" charset="0"/>
                <a:ea typeface="+mn-ea"/>
                <a:cs typeface="+mn-cs"/>
              </a:rPr>
              <a:t>, text, </a:t>
            </a:r>
            <a:r>
              <a:rPr lang="en-US" sz="900" kern="1200" dirty="0" err="1">
                <a:solidFill>
                  <a:schemeClr val="tx1"/>
                </a:solidFill>
                <a:effectLst/>
                <a:latin typeface="Segoe UI Light" pitchFamily="34" charset="0"/>
                <a:ea typeface="+mn-ea"/>
                <a:cs typeface="+mn-cs"/>
              </a:rPr>
              <a:t>sql_variant</a:t>
            </a:r>
            <a:r>
              <a:rPr lang="en-US" sz="900" kern="1200" dirty="0">
                <a:solidFill>
                  <a:schemeClr val="tx1"/>
                </a:solidFill>
                <a:effectLst/>
                <a:latin typeface="Segoe UI Light" pitchFamily="34" charset="0"/>
                <a:ea typeface="+mn-ea"/>
                <a:cs typeface="+mn-cs"/>
              </a:rPr>
              <a:t>, hierarchyid, geography, geometry, and user defined-types. </a:t>
            </a:r>
            <a:r>
              <a:rPr lang="en-US" kern="1200" dirty="0">
                <a:solidFill>
                  <a:schemeClr val="tx1"/>
                </a:solidFill>
                <a:effectLst/>
                <a:latin typeface="Segoe UI Light" pitchFamily="34" charset="0"/>
                <a:ea typeface="+mn-ea"/>
                <a:cs typeface="+mn-cs"/>
              </a:rPr>
              <a:t>Always Encrypted is not supported for the columns with the characteristics  such as FILESTREAM columns, columns with ROWGUIDCOL property, or string (varchar, char, etc.) columns with non-bin2 collation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following clauses cannot be used for encrypted columns:</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FOR XML</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FOR JSON PATH</a:t>
            </a:r>
            <a:endParaRPr lang="en-US" sz="11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following features do not work on encrypted columns:</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ransactional or merge replication</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Distributed queries (linked servers)</a:t>
            </a:r>
          </a:p>
          <a:p>
            <a:pPr marL="171450" lvl="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5</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658726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77500" lnSpcReduction="20000"/>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shows the potential roadblocks in the Always Encrypted option.</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r>
              <a:rPr lang="en-US" sz="900" b="1" kern="1200" dirty="0">
                <a:solidFill>
                  <a:schemeClr val="tx1"/>
                </a:solidFill>
                <a:effectLst/>
                <a:latin typeface="Segoe UI Light" pitchFamily="34" charset="0"/>
                <a:ea typeface="+mn-ea"/>
                <a:cs typeface="+mn-cs"/>
              </a:rPr>
              <a:t>Data corruption</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Improper use of the ALLOW_ENCRYPTED_VALUE_MODIFICATIONS option allows the user to insert any data into encrypted columns in the database, including data that is encrypted with different keys, incorrectly encrypted, or not encrypted at all.</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If you accidently copy data that is not correctly encrypted using the encryption scheme (column encryption key, algorithm, encryption type) set up for the target column, you will not be able to decrypt the data (the data will be corrupted). This option must be used carefully, as it can lead to corrupting data in the database.</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Here the scenario demonstrates how improperly importing data could lead to data corruption:</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option is set to ON for a user. The user runs the application that connects to the database. The application uses bulk APIs to insert plaintext values to encrypted columns. The application expects an Always Encrypted-enabled client driver to encrypt the data on insert. However, the application is misconfigured, so it either ends up using a driver that does not support Always Encrypted or the connection string does not contain column encryption setting=enabled.</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application sends plaintext values to the server. As cryptographic metadata checks are disabled in the server for the user, the server lets the incorrect data (plaintext instead of correctly encrypted ciphertext) be inserted into an encrypted column.</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same or another application connects to the database by using an Always Encrypted-enabled driver with column encryption setting=enabled in the connection string and retrieves the data. The application expects the data to be transparently decrypted. However, the driver fails to decrypt the data because the data is incorrect ciphertext.</a:t>
            </a:r>
          </a:p>
          <a:p>
            <a:pPr algn="l"/>
            <a:endParaRPr lang="en-US" sz="2000" b="1" i="0" dirty="0">
              <a:solidFill>
                <a:srgbClr val="E3E3E3"/>
              </a:solidFill>
              <a:effectLst/>
              <a:latin typeface="Segoe UI" panose="020B0502040204020203" pitchFamily="34" charset="0"/>
            </a:endParaRPr>
          </a:p>
          <a:p>
            <a:pPr algn="l"/>
            <a:r>
              <a:rPr lang="en-US" sz="2000" b="1" i="0" dirty="0">
                <a:solidFill>
                  <a:srgbClr val="E3E3E3"/>
                </a:solidFill>
                <a:effectLst/>
                <a:latin typeface="Segoe UI" panose="020B0502040204020203" pitchFamily="34" charset="0"/>
              </a:rPr>
              <a:t>Best Practices for Moving Data Encrypted with Always Encrypted:</a:t>
            </a:r>
          </a:p>
          <a:p>
            <a:pPr marL="0" indent="0">
              <a:buFont typeface="Arial" panose="020B0604020202020204" pitchFamily="34" charset="0"/>
              <a:buNone/>
            </a:pPr>
            <a:r>
              <a:rPr lang="en-US" sz="2000" dirty="0">
                <a:hlinkClick r:id="rId3"/>
              </a:rPr>
              <a:t>https://docs.microsoft.com/en-us/archive/blogs/sqlsecurity/best-practices-for-moving-data-encrypted-with-always-encrypted</a:t>
            </a:r>
            <a:endParaRPr lang="en-US" sz="900" kern="1200" dirty="0">
              <a:solidFill>
                <a:schemeClr val="tx1"/>
              </a:solidFill>
              <a:effectLst/>
              <a:latin typeface="Segoe UI Light" pitchFamily="34" charset="0"/>
              <a:ea typeface="+mn-ea"/>
              <a:cs typeface="+mn-cs"/>
            </a:endParaRP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ool limitations also include:</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lways Encrypted is not supported in SQL Server Data Tools (SSDT).</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only operations supported for databases using Always Encrypted in sqlpackage.exe are Export and Import. Extract, Publish, </a:t>
            </a:r>
            <a:r>
              <a:rPr lang="en-US" sz="900" kern="1200" dirty="0" err="1">
                <a:solidFill>
                  <a:schemeClr val="tx1"/>
                </a:solidFill>
                <a:effectLst/>
                <a:latin typeface="Segoe UI Light" pitchFamily="34" charset="0"/>
                <a:ea typeface="+mn-ea"/>
                <a:cs typeface="+mn-cs"/>
              </a:rPr>
              <a:t>DeployReport</a:t>
            </a:r>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DiffReport</a:t>
            </a:r>
            <a:r>
              <a:rPr lang="en-US" sz="900" kern="1200" dirty="0">
                <a:solidFill>
                  <a:schemeClr val="tx1"/>
                </a:solidFill>
                <a:effectLst/>
                <a:latin typeface="Segoe UI Light" pitchFamily="34" charset="0"/>
                <a:ea typeface="+mn-ea"/>
                <a:cs typeface="+mn-cs"/>
              </a:rPr>
              <a:t>, and Script are not supported. Similarly, only the Import Data-tier Application and Export Data-tier Application operations are supported in Management Studio. Other </a:t>
            </a:r>
            <a:r>
              <a:rPr lang="en-US" sz="900" kern="1200" dirty="0" err="1">
                <a:solidFill>
                  <a:schemeClr val="tx1"/>
                </a:solidFill>
                <a:effectLst/>
                <a:latin typeface="Segoe UI Light" pitchFamily="34" charset="0"/>
                <a:ea typeface="+mn-ea"/>
                <a:cs typeface="+mn-cs"/>
              </a:rPr>
              <a:t>bacpac</a:t>
            </a:r>
            <a:r>
              <a:rPr lang="en-US" sz="900" kern="1200" dirty="0">
                <a:solidFill>
                  <a:schemeClr val="tx1"/>
                </a:solidFill>
                <a:effectLst/>
                <a:latin typeface="Segoe UI Light" pitchFamily="34" charset="0"/>
                <a:ea typeface="+mn-ea"/>
                <a:cs typeface="+mn-cs"/>
              </a:rPr>
              <a:t>/</a:t>
            </a:r>
            <a:r>
              <a:rPr lang="en-US" sz="900" kern="1200" dirty="0" err="1">
                <a:solidFill>
                  <a:schemeClr val="tx1"/>
                </a:solidFill>
                <a:effectLst/>
                <a:latin typeface="Segoe UI Light" pitchFamily="34" charset="0"/>
                <a:ea typeface="+mn-ea"/>
                <a:cs typeface="+mn-cs"/>
              </a:rPr>
              <a:t>dacpac</a:t>
            </a:r>
            <a:r>
              <a:rPr lang="en-US" sz="900" kern="1200" dirty="0">
                <a:solidFill>
                  <a:schemeClr val="tx1"/>
                </a:solidFill>
                <a:effectLst/>
                <a:latin typeface="Segoe UI Light" pitchFamily="34" charset="0"/>
                <a:ea typeface="+mn-ea"/>
                <a:cs typeface="+mn-cs"/>
              </a:rPr>
              <a:t> operations on databases/schemas using Always Encrypted are not supported.</a:t>
            </a:r>
          </a:p>
          <a:p>
            <a:pPr marL="171450" lvl="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6</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6718942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i="0" dirty="0">
                <a:solidFill>
                  <a:srgbClr val="E3E3E3"/>
                </a:solidFill>
                <a:effectLst/>
                <a:latin typeface="Segoe UI" panose="020B0502040204020203" pitchFamily="34" charset="0"/>
              </a:rPr>
              <a:t>Database Permissions: </a:t>
            </a:r>
            <a:r>
              <a:rPr lang="en-US" dirty="0">
                <a:hlinkClick r:id="rId3"/>
              </a:rPr>
              <a:t>https://docs.microsoft.com/en-us/sql/relational-databases/security/encryption/always-encrypted-database-engine?view=sql-server-ver15#database-permissions</a:t>
            </a:r>
            <a:endParaRPr lang="en-US" b="1" i="0" dirty="0">
              <a:solidFill>
                <a:srgbClr val="E3E3E3"/>
              </a:solidFill>
              <a:effectLst/>
              <a:latin typeface="Segoe UI" panose="020B0502040204020203" pitchFamily="34" charset="0"/>
            </a:endParaRPr>
          </a:p>
          <a:p>
            <a:endParaRPr lang="en-US" dirty="0"/>
          </a:p>
          <a:p>
            <a:r>
              <a:rPr lang="en-CA" dirty="0"/>
              <a:t>The permissions apply to actions using Transact-SQL, Management Studio (dialog boxes and wizard), or Windows PowerShell.</a:t>
            </a:r>
          </a:p>
          <a:p>
            <a:endParaRPr lang="en-CA" dirty="0"/>
          </a:p>
          <a:p>
            <a:r>
              <a:rPr lang="en-CA" dirty="0"/>
              <a:t>The two view permissions are required when selecting encrypted columns, even if the user does not have permission to decrypt the columns.</a:t>
            </a:r>
          </a:p>
          <a:p>
            <a:endParaRPr lang="en-CA" dirty="0"/>
          </a:p>
          <a:p>
            <a:r>
              <a:rPr lang="en-CA" dirty="0"/>
              <a:t>In SQL Server, both view permissions are granted by default to the public fixed database role. A database administrator may choose to revoke (or deny) the view permissions to the public role and grant them to specific roles or users to implement more restricted control.</a:t>
            </a:r>
          </a:p>
          <a:p>
            <a:endParaRPr lang="en-CA" dirty="0"/>
          </a:p>
          <a:p>
            <a:r>
              <a:rPr lang="en-CA" dirty="0"/>
              <a:t>In SQL Database, the view permissions are not granted by default to the public fixed database role. This enables certain existing, legacy tools (using older versions of </a:t>
            </a:r>
            <a:r>
              <a:rPr lang="en-CA" dirty="0" err="1"/>
              <a:t>DaxFx</a:t>
            </a:r>
            <a:r>
              <a:rPr lang="en-CA" dirty="0"/>
              <a:t>) to work properly. Consequently, to work with encrypted columns (even if not decrypting them) a database administrator must explicitly grant the two view permissions.</a:t>
            </a:r>
          </a:p>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7</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417760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i="0" dirty="0">
                <a:solidFill>
                  <a:srgbClr val="E3E3E3"/>
                </a:solidFill>
                <a:effectLst/>
                <a:latin typeface="Segoe UI" panose="020B0502040204020203" pitchFamily="34" charset="0"/>
              </a:rPr>
              <a:t>Database Permissions: </a:t>
            </a:r>
            <a:r>
              <a:rPr lang="en-US" dirty="0">
                <a:hlinkClick r:id="rId3"/>
              </a:rPr>
              <a:t>https://docs.microsoft.com/en-us/sql/relational-databases/security/encryption/always-encrypted-database-engine?view=sql-server-ver15#database-permissions</a:t>
            </a:r>
            <a:endParaRPr lang="en-US" b="1" i="0" dirty="0">
              <a:solidFill>
                <a:srgbClr val="E3E3E3"/>
              </a:solidFill>
              <a:effectLst/>
              <a:latin typeface="Segoe UI" panose="020B0502040204020203" pitchFamily="34" charset="0"/>
            </a:endParaRPr>
          </a:p>
          <a:p>
            <a:endParaRPr lang="en-US" dirty="0"/>
          </a:p>
          <a:p>
            <a:r>
              <a:rPr lang="en-CA" dirty="0"/>
              <a:t>The permissions apply to actions using Transact-SQL, Management Studio (dialog boxes and wizard), or Windows PowerShell.</a:t>
            </a:r>
          </a:p>
          <a:p>
            <a:endParaRPr lang="en-CA" dirty="0"/>
          </a:p>
          <a:p>
            <a:r>
              <a:rPr lang="en-CA" dirty="0"/>
              <a:t>The two view permissions are required when selecting encrypted columns, even if the user does not have permission to decrypt the columns.</a:t>
            </a:r>
          </a:p>
          <a:p>
            <a:endParaRPr lang="en-CA" dirty="0"/>
          </a:p>
          <a:p>
            <a:r>
              <a:rPr lang="en-CA" dirty="0"/>
              <a:t>In SQL Server, both view permissions are granted by default to the public fixed database role. A database administrator may choose to revoke (or deny) the view permissions to the public role and grant them to specific roles or users to implement more restricted control.</a:t>
            </a:r>
          </a:p>
          <a:p>
            <a:endParaRPr lang="en-CA" dirty="0"/>
          </a:p>
          <a:p>
            <a:r>
              <a:rPr lang="en-CA" dirty="0"/>
              <a:t>In SQL Database, the view permissions are not granted by default to the public fixed database role. This enables certain existing, legacy tools (using older versions of </a:t>
            </a:r>
            <a:r>
              <a:rPr lang="en-CA" dirty="0" err="1"/>
              <a:t>DaxFx</a:t>
            </a:r>
            <a:r>
              <a:rPr lang="en-CA" dirty="0"/>
              <a:t>) to work properly. Consequently, to work with encrypted columns (even if not decrypting them) a database administrator must explicitly grant the two view permissions.</a:t>
            </a:r>
          </a:p>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8</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7819409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highlights best practices for Always Encrypted.</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3E3E3"/>
                </a:solidFill>
                <a:effectLst/>
                <a:latin typeface="Segoe UI" panose="020B0502040204020203" pitchFamily="34" charset="0"/>
              </a:rPr>
              <a:t>Always Encrypted: </a:t>
            </a:r>
            <a:r>
              <a:rPr lang="en-US" sz="2000" dirty="0">
                <a:hlinkClick r:id="rId3"/>
              </a:rPr>
              <a:t>https://docs.microsoft.com/en-us/sql/relational-databases/security/encryption/always-encrypted-database-engine?view=sql-server-ver15</a:t>
            </a:r>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endParaRPr lang="en-US" sz="900" b="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f a database containing sensitive data is hosted in Azure, complete isolation of data from cloud administrators is only provided when the database client tier is running on-premise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f the client tier is running in the cloud, moving the encryption/decryption routine to the client tier still leaves data and keys exposed to cloud administrators (of the platform hosting the client tier).</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lumMod val="50000"/>
                  </a:schemeClr>
                </a:solidFill>
                <a:latin typeface="Segoe UI Light" pitchFamily="34" charset="0"/>
                <a:ea typeface="+mn-ea"/>
                <a:cs typeface="+mn-cs"/>
              </a:rPr>
              <a:t>Test application workload to ensure that restrictions and limitation do not affect your applica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kern="1200" dirty="0">
                <a:solidFill>
                  <a:schemeClr val="tx1">
                    <a:lumMod val="50000"/>
                  </a:schemeClr>
                </a:solidFill>
                <a:latin typeface="Segoe UI Light" pitchFamily="34" charset="0"/>
                <a:ea typeface="+mn-ea"/>
                <a:cs typeface="+mn-cs"/>
              </a:rPr>
              <a:t>Carefully evaluate randomized vs deterministic encryption</a:t>
            </a:r>
          </a:p>
          <a:p>
            <a:pPr marL="0" lvl="0" indent="0">
              <a:buFont typeface="Arial" panose="020B0604020202020204" pitchFamily="34" charset="0"/>
              <a:buNone/>
            </a:pPr>
            <a:endParaRPr lang="en-US" dirty="0"/>
          </a:p>
          <a:p>
            <a:pPr marL="0" lvl="0" indent="0">
              <a:buFont typeface="Arial" panose="020B0604020202020204" pitchFamily="34" charset="0"/>
              <a:buNone/>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9</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0834456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a:t>Note: This should be the final slide for each presentation.</a:t>
            </a:r>
          </a:p>
          <a:p>
            <a:endParaRPr lang="en-US" dirty="0"/>
          </a:p>
        </p:txBody>
      </p:sp>
    </p:spTree>
    <p:extLst>
      <p:ext uri="{BB962C8B-B14F-4D97-AF65-F5344CB8AC3E}">
        <p14:creationId xmlns:p14="http://schemas.microsoft.com/office/powerpoint/2010/main" val="2861498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depicts the need for Always Encrypted and the purpose of the feature in SQL Server 2016.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a:t>
            </a:r>
            <a:r>
              <a:rPr lang="en-US" b="1" dirty="0"/>
              <a:t>s</a:t>
            </a:r>
            <a:r>
              <a:rPr lang="en-US" b="0" dirty="0"/>
              <a:t>:</a:t>
            </a:r>
          </a:p>
          <a:p>
            <a:pPr marL="0" indent="0">
              <a:buFont typeface="Arial" panose="020B0604020202020204" pitchFamily="34" charset="0"/>
              <a:buNone/>
            </a:pPr>
            <a:r>
              <a:rPr lang="en-US" sz="900" kern="1200" dirty="0">
                <a:solidFill>
                  <a:schemeClr val="tx1"/>
                </a:solidFill>
                <a:effectLst/>
                <a:latin typeface="Segoe UI Light" pitchFamily="34" charset="0"/>
                <a:ea typeface="+mn-ea"/>
                <a:cs typeface="+mn-cs"/>
              </a:rPr>
              <a:t>Always Encrypted is a feature designed to protect sensitive data, such as credit card numbers or national identification numbers (for</a:t>
            </a:r>
            <a:r>
              <a:rPr lang="en-US" sz="900" kern="1200" baseline="0" dirty="0">
                <a:solidFill>
                  <a:schemeClr val="tx1"/>
                </a:solidFill>
                <a:effectLst/>
                <a:latin typeface="Segoe UI Light" pitchFamily="34" charset="0"/>
                <a:ea typeface="+mn-ea"/>
                <a:cs typeface="+mn-cs"/>
              </a:rPr>
              <a:t> example,</a:t>
            </a:r>
            <a:r>
              <a:rPr lang="en-US" sz="900" kern="1200" dirty="0">
                <a:solidFill>
                  <a:schemeClr val="tx1"/>
                </a:solidFill>
                <a:effectLst/>
                <a:latin typeface="Segoe UI Light" pitchFamily="34" charset="0"/>
                <a:ea typeface="+mn-ea"/>
                <a:cs typeface="+mn-cs"/>
              </a:rPr>
              <a:t> U.S. </a:t>
            </a:r>
            <a:r>
              <a:rPr lang="en-US" sz="900" dirty="0">
                <a:latin typeface="Segoe UI Light" pitchFamily="34" charset="0"/>
              </a:rPr>
              <a:t>Social Security numbers) stored in Microsoft Azure SQL Database or SQL Server databases.</a:t>
            </a:r>
          </a:p>
          <a:p>
            <a:pPr marL="0" indent="0">
              <a:buFont typeface="Arial" panose="020B0604020202020204" pitchFamily="34" charset="0"/>
              <a:buNone/>
            </a:pPr>
            <a:endParaRPr lang="en-US" sz="900" dirty="0">
              <a:latin typeface="Segoe UI Light" pitchFamily="34" charset="0"/>
            </a:endParaRPr>
          </a:p>
          <a:p>
            <a:pPr marL="0" indent="0">
              <a:buFont typeface="Arial" panose="020B0604020202020204" pitchFamily="34" charset="0"/>
              <a:buNone/>
            </a:pPr>
            <a:r>
              <a:rPr lang="en-US" sz="900" dirty="0">
                <a:latin typeface="Segoe UI Light" pitchFamily="34" charset="0"/>
              </a:rPr>
              <a:t>Always Encrypted allows clients to encrypt sensitive data inside client applications and never reveal the encryption keys to the database engine (SQL Database or SQL Server). As a result, Always Encrypted provides a separation between those who own the data (and can view it) and those who manage the data (but should have no access). In addition, you can query encrypted data and perform various query operations like equality comparison, including </a:t>
            </a:r>
            <a:r>
              <a:rPr lang="en-US" sz="900" kern="1200" dirty="0">
                <a:solidFill>
                  <a:schemeClr val="tx1"/>
                </a:solidFill>
                <a:effectLst/>
                <a:latin typeface="Segoe UI Light" pitchFamily="34" charset="0"/>
                <a:ea typeface="+mn-ea"/>
                <a:cs typeface="+mn-cs"/>
              </a:rPr>
              <a:t>join, group by, and distinct operators.</a:t>
            </a:r>
          </a:p>
          <a:p>
            <a:pPr marL="0" indent="0">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kern="1200" dirty="0">
                <a:solidFill>
                  <a:schemeClr val="tx1"/>
                </a:solidFill>
                <a:effectLst/>
                <a:latin typeface="Segoe UI Light" pitchFamily="34" charset="0"/>
                <a:ea typeface="+mn-ea"/>
                <a:cs typeface="+mn-cs"/>
              </a:rPr>
              <a:t>Always Encrypted allows clients to encrypt sensitive data inside client applications and never reveal the encryption keys to the SQL Server. An Always Encrypted-enabled driver installed on the client computer achieves this by automatically encrypting and decrypting sensitive data in the SQL Server client application.</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The driver encrypts the data in sensitive columns before passing the data to SQL Server, and automatically rewrites queries to preserve the semantics to the application.</a:t>
            </a:r>
          </a:p>
          <a:p>
            <a:pPr marL="0" indent="0">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kern="1200" dirty="0">
                <a:solidFill>
                  <a:schemeClr val="tx1"/>
                </a:solidFill>
                <a:effectLst/>
                <a:latin typeface="Segoe UI Light" pitchFamily="34" charset="0"/>
                <a:ea typeface="+mn-ea"/>
                <a:cs typeface="+mn-cs"/>
              </a:rPr>
              <a:t>Similarly, the driver transparently decrypts data stored in encrypted database columns that are contained in query results. This technology helps to ensure that your data is constantly encrypted and, no application changes are required.</a:t>
            </a:r>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7</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2758589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77500" lnSpcReduction="20000"/>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presents the capabilities and functions of Always Encrypted. </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r>
              <a:rPr lang="en-US" sz="900" b="1" kern="1200" dirty="0">
                <a:solidFill>
                  <a:schemeClr val="tx1"/>
                </a:solidFill>
                <a:effectLst/>
                <a:latin typeface="Segoe UI Light" pitchFamily="34" charset="0"/>
                <a:ea typeface="+mn-ea"/>
                <a:cs typeface="+mn-cs"/>
              </a:rPr>
              <a:t>Migrate sensitive data in application</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lways Encrypted allows a user</a:t>
            </a:r>
            <a:r>
              <a:rPr lang="en-US" sz="900" kern="1200" baseline="0" dirty="0">
                <a:solidFill>
                  <a:schemeClr val="tx1"/>
                </a:solidFill>
                <a:effectLst/>
                <a:latin typeface="Segoe UI Light" pitchFamily="34" charset="0"/>
                <a:ea typeface="+mn-ea"/>
                <a:cs typeface="+mn-cs"/>
              </a:rPr>
              <a:t> to:</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ecurely move encrypted data from one set of tables containing encrypted columns to another set of tables with encrypted columns (in the same or a different database).</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Load encrypted data without performing metadata checks on the server during bulk copy operations, create the user with the </a:t>
            </a:r>
            <a:r>
              <a:rPr lang="en-US" sz="900" b="1" kern="1200" dirty="0">
                <a:solidFill>
                  <a:schemeClr val="tx1"/>
                </a:solidFill>
                <a:effectLst/>
                <a:latin typeface="Segoe UI Light" pitchFamily="34" charset="0"/>
                <a:ea typeface="+mn-ea"/>
                <a:cs typeface="+mn-cs"/>
              </a:rPr>
              <a:t>ALLOW_ENCRYPTED_VALUE_MODIFICATIONS</a:t>
            </a:r>
            <a:r>
              <a:rPr lang="en-US" sz="900" kern="1200" dirty="0">
                <a:solidFill>
                  <a:schemeClr val="tx1"/>
                </a:solidFill>
                <a:effectLst/>
                <a:latin typeface="Segoe UI Light" pitchFamily="34" charset="0"/>
                <a:ea typeface="+mn-ea"/>
                <a:cs typeface="+mn-cs"/>
              </a:rPr>
              <a:t> option. This option is intended to be used by legacy tools from versions of SQL Server older than SQL Server 2016 Community Technology Preview 3 (CTP 3.0) or by using third-party Extract-Transform-Load (ETL) workflows that can’t use Always Encrypted. </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utomatic encryption and decryption of sensitive data </a:t>
            </a:r>
          </a:p>
          <a:p>
            <a:r>
              <a:rPr lang="en-US" sz="900" kern="1200" dirty="0">
                <a:solidFill>
                  <a:schemeClr val="tx1"/>
                </a:solidFill>
                <a:effectLst/>
                <a:latin typeface="Segoe UI Light" pitchFamily="34" charset="0"/>
                <a:ea typeface="+mn-ea"/>
                <a:cs typeface="+mn-cs"/>
              </a:rPr>
              <a:t>Always Encrypted makes encryption transparent to applications. An Always Encrypted-enabled driver installed on the client computer achieves this by automatically encrypting and decrypting sensitive data in the client application. The driver encrypts data in sensitive columns before passing it to the database engine, and automatically rewrites queries to preserve the semantics to the application. Similarly, the driver transparently decrypts data, which is stored in encrypted database columns and contained in query results.</a:t>
            </a:r>
          </a:p>
          <a:p>
            <a:endParaRPr lang="en-US" sz="900" b="1" u="none" strike="noStrike" kern="1200" dirty="0">
              <a:solidFill>
                <a:schemeClr val="tx1"/>
              </a:solidFill>
              <a:effectLst/>
              <a:latin typeface="Segoe UI Light" pitchFamily="34" charset="0"/>
              <a:ea typeface="+mn-ea"/>
              <a:cs typeface="+mn-cs"/>
            </a:endParaRPr>
          </a:p>
          <a:p>
            <a:r>
              <a:rPr lang="en-US" sz="900" b="1" u="none" strike="noStrike" kern="1200" dirty="0">
                <a:solidFill>
                  <a:schemeClr val="tx1"/>
                </a:solidFill>
                <a:effectLst/>
                <a:latin typeface="Segoe UI Light" pitchFamily="34" charset="0"/>
                <a:ea typeface="+mn-ea"/>
                <a:cs typeface="+mn-cs"/>
              </a:rPr>
              <a:t>Bulk loading of encrypted </a:t>
            </a:r>
            <a:r>
              <a:rPr lang="en-US" b="1" dirty="0"/>
              <a:t>d</a:t>
            </a:r>
            <a:r>
              <a:rPr lang="en-US" sz="900" b="1" u="none" strike="noStrike" kern="1200" dirty="0">
                <a:solidFill>
                  <a:schemeClr val="tx1"/>
                </a:solidFill>
                <a:effectLst/>
                <a:latin typeface="Segoe UI Light" pitchFamily="34" charset="0"/>
                <a:ea typeface="+mn-ea"/>
                <a:cs typeface="+mn-cs"/>
              </a:rPr>
              <a:t>ata</a:t>
            </a:r>
            <a:endParaRPr lang="en-US" sz="900" b="1"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 can set the process to load encrypted data. </a:t>
            </a:r>
          </a:p>
          <a:p>
            <a:pPr marL="228600" indent="-228600">
              <a:buAutoNum type="arabicPeriod"/>
            </a:pPr>
            <a:r>
              <a:rPr lang="en-US" sz="900" kern="1200" dirty="0">
                <a:solidFill>
                  <a:schemeClr val="tx1"/>
                </a:solidFill>
                <a:effectLst/>
                <a:latin typeface="Segoe UI Light" pitchFamily="34" charset="0"/>
                <a:ea typeface="+mn-ea"/>
                <a:cs typeface="+mn-cs"/>
              </a:rPr>
              <a:t>Set the option to </a:t>
            </a:r>
            <a:r>
              <a:rPr lang="en-US" sz="900" b="1" kern="1200" dirty="0">
                <a:solidFill>
                  <a:schemeClr val="tx1"/>
                </a:solidFill>
                <a:effectLst/>
                <a:latin typeface="Segoe UI Light" pitchFamily="34" charset="0"/>
                <a:ea typeface="+mn-ea"/>
                <a:cs typeface="+mn-cs"/>
              </a:rPr>
              <a:t>ON</a:t>
            </a:r>
            <a:r>
              <a:rPr lang="en-US" sz="900" kern="1200" dirty="0">
                <a:solidFill>
                  <a:schemeClr val="tx1"/>
                </a:solidFill>
                <a:effectLst/>
                <a:latin typeface="Segoe UI Light" pitchFamily="34" charset="0"/>
                <a:ea typeface="+mn-ea"/>
                <a:cs typeface="+mn-cs"/>
              </a:rPr>
              <a:t> for the user in the database that is the target for the bulk copy operation. </a:t>
            </a:r>
          </a:p>
          <a:p>
            <a:pPr marL="0" indent="0">
              <a:buNone/>
            </a:pPr>
            <a:r>
              <a:rPr lang="en-CA" sz="1200" kern="1200" dirty="0">
                <a:solidFill>
                  <a:schemeClr val="tx1"/>
                </a:solidFill>
                <a:effectLst/>
                <a:latin typeface="Segoe UI Light" pitchFamily="34" charset="0"/>
                <a:ea typeface="+mn-ea"/>
                <a:cs typeface="+mn-cs"/>
              </a:rPr>
              <a:t>	ALTER USER Bob WITH ALLOW_ENCRYPTED_VALUE_MODIFICATIONS = ON; </a:t>
            </a:r>
            <a:endParaRPr lang="en-US" sz="900" kern="1200" dirty="0">
              <a:solidFill>
                <a:schemeClr val="tx1"/>
              </a:solidFill>
              <a:effectLst/>
              <a:latin typeface="Segoe UI Light" pitchFamily="34" charset="0"/>
              <a:ea typeface="+mn-ea"/>
              <a:cs typeface="+mn-cs"/>
            </a:endParaRPr>
          </a:p>
          <a:p>
            <a:pPr marL="0" indent="0">
              <a:buNone/>
            </a:pPr>
            <a:r>
              <a:rPr lang="en-US" sz="900" kern="1200" dirty="0">
                <a:solidFill>
                  <a:schemeClr val="tx1"/>
                </a:solidFill>
                <a:effectLst/>
                <a:latin typeface="Segoe UI Light" pitchFamily="34" charset="0"/>
                <a:ea typeface="+mn-ea"/>
                <a:cs typeface="+mn-cs"/>
              </a:rPr>
              <a:t>2. Run your bulk copy application or tool connecting as that user. (If your application uses an Always Encrypted-enabled client driver, make sure the connection string for the data source does not contain </a:t>
            </a:r>
            <a:r>
              <a:rPr lang="en-US" sz="900" b="1" kern="1200" dirty="0">
                <a:solidFill>
                  <a:schemeClr val="tx1"/>
                </a:solidFill>
                <a:effectLst/>
                <a:latin typeface="Segoe UI Light" pitchFamily="34" charset="0"/>
                <a:ea typeface="+mn-ea"/>
                <a:cs typeface="+mn-cs"/>
              </a:rPr>
              <a:t>column encryption setting=enabled</a:t>
            </a:r>
            <a:r>
              <a:rPr lang="en-US" sz="900" kern="1200" dirty="0">
                <a:solidFill>
                  <a:schemeClr val="tx1"/>
                </a:solidFill>
                <a:effectLst/>
                <a:latin typeface="Segoe UI Light" pitchFamily="34" charset="0"/>
                <a:ea typeface="+mn-ea"/>
                <a:cs typeface="+mn-cs"/>
              </a:rPr>
              <a:t> to ensure the data retrieved from encrypted columns remains encrypted.)</a:t>
            </a:r>
          </a:p>
          <a:p>
            <a:pPr marL="0" indent="0">
              <a:buNone/>
            </a:pP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3. Set the </a:t>
            </a:r>
            <a:r>
              <a:rPr lang="en-US" sz="900" b="1" kern="1200" dirty="0">
                <a:solidFill>
                  <a:schemeClr val="tx1"/>
                </a:solidFill>
                <a:effectLst/>
                <a:latin typeface="Segoe UI Light" pitchFamily="34" charset="0"/>
                <a:ea typeface="+mn-ea"/>
                <a:cs typeface="+mn-cs"/>
              </a:rPr>
              <a:t>ALLOW_ENCRYPTED_VALUE_MODIFICATIONS</a:t>
            </a:r>
            <a:r>
              <a:rPr lang="en-US" sz="900" kern="1200" dirty="0">
                <a:solidFill>
                  <a:schemeClr val="tx1"/>
                </a:solidFill>
                <a:effectLst/>
                <a:latin typeface="Segoe UI Light" pitchFamily="34" charset="0"/>
                <a:ea typeface="+mn-ea"/>
                <a:cs typeface="+mn-cs"/>
              </a:rPr>
              <a:t> option back to </a:t>
            </a:r>
            <a:r>
              <a:rPr lang="en-US" sz="900" b="1" kern="1200" dirty="0">
                <a:solidFill>
                  <a:schemeClr val="tx1"/>
                </a:solidFill>
                <a:effectLst/>
                <a:latin typeface="Segoe UI Light" pitchFamily="34" charset="0"/>
                <a:ea typeface="+mn-ea"/>
                <a:cs typeface="+mn-cs"/>
              </a:rPr>
              <a:t>OFF</a:t>
            </a:r>
            <a:r>
              <a:rPr lang="en-US" sz="900" kern="1200" dirty="0">
                <a:solidFill>
                  <a:schemeClr val="tx1"/>
                </a:solidFill>
                <a:effectLst/>
                <a:latin typeface="Segoe UI Light" pitchFamily="34" charset="0"/>
                <a:ea typeface="+mn-ea"/>
                <a:cs typeface="+mn-cs"/>
              </a:rPr>
              <a:t>.</a:t>
            </a:r>
          </a:p>
          <a:p>
            <a:r>
              <a:rPr lang="en-CA" sz="1200" kern="1200" dirty="0">
                <a:solidFill>
                  <a:schemeClr val="tx1"/>
                </a:solidFill>
                <a:effectLst/>
                <a:latin typeface="Segoe UI Light" pitchFamily="34" charset="0"/>
                <a:ea typeface="+mn-ea"/>
                <a:cs typeface="+mn-cs"/>
              </a:rPr>
              <a:t>	ALTER USER Bob WITH ALLOW_ENCRYPTED_VALUE_MODIFICATIONS = OFF; </a:t>
            </a:r>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https://msdn.microsoft.com/en-us/library/mt621539.aspx</a:t>
            </a:r>
          </a:p>
          <a:p>
            <a:r>
              <a:rPr lang="en-US" sz="900" kern="1200" dirty="0">
                <a:solidFill>
                  <a:schemeClr val="tx1"/>
                </a:solidFill>
                <a:effectLst/>
                <a:latin typeface="Segoe UI Light" pitchFamily="34" charset="0"/>
                <a:ea typeface="+mn-ea"/>
                <a:cs typeface="+mn-cs"/>
              </a:rPr>
              <a:t>Note:</a:t>
            </a:r>
          </a:p>
          <a:p>
            <a:pPr lvl="1"/>
            <a:r>
              <a:rPr lang="en-CA" dirty="0">
                <a:effectLst/>
              </a:rPr>
              <a:t>Always Encrypted is disabled for both the source and the target database connections. This ensures the client driver does not attempt to encrypt or decrypt any values, and instead it reads encrypted (</a:t>
            </a:r>
            <a:r>
              <a:rPr lang="en-CA" dirty="0" err="1">
                <a:effectLst/>
              </a:rPr>
              <a:t>varbinary</a:t>
            </a:r>
            <a:r>
              <a:rPr lang="en-CA" dirty="0">
                <a:effectLst/>
              </a:rPr>
              <a:t>) values from the source table and writes them to the target table.</a:t>
            </a:r>
          </a:p>
          <a:p>
            <a:pPr lvl="1"/>
            <a:r>
              <a:rPr lang="en-CA" b="1" dirty="0" err="1">
                <a:effectLst/>
              </a:rPr>
              <a:t>AllowEncryptedValueModifications</a:t>
            </a:r>
            <a:r>
              <a:rPr lang="en-CA" dirty="0">
                <a:effectLst/>
              </a:rPr>
              <a:t> is used for the target connection, to suppress cryptographic metadata checks and ensure inserting values, which are already encrypted, can succeed.</a:t>
            </a:r>
          </a:p>
          <a:p>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Segoe UI Light" pitchFamily="34" charset="0"/>
                <a:ea typeface="+mn-ea"/>
                <a:cs typeface="+mn-cs"/>
              </a:rPr>
              <a:t>https://blogs.msdn.microsoft.com/sqlsecurity/2016/01/07/best-practices-for-moving-data-encrypted-with-always-encrypted/</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8</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41849982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62500" lnSpcReduction="20000"/>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summarizes Always Encrypted and its benefit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3E3E3"/>
                </a:solidFill>
                <a:effectLst/>
                <a:latin typeface="Segoe UI" panose="020B0502040204020203" pitchFamily="34" charset="0"/>
              </a:rPr>
              <a:t>Always Encrypted: </a:t>
            </a:r>
            <a:r>
              <a:rPr lang="en-US" sz="4800" dirty="0">
                <a:hlinkClick r:id="rId3"/>
              </a:rPr>
              <a:t>https://docs.microsoft.com/en-us/sql/relational-databases/security/encryption/always-encrypted-database-engine?view=sql-server-ver15</a:t>
            </a:r>
            <a:endParaRPr lang="en-US" sz="2000" b="1" i="0" dirty="0">
              <a:solidFill>
                <a:srgbClr val="E3E3E3"/>
              </a:solidFill>
              <a:effectLst/>
              <a:latin typeface="Segoe UI" panose="020B0502040204020203" pitchFamily="34" charset="0"/>
            </a:endParaRP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r>
              <a:rPr lang="en-US" sz="900" kern="1200" dirty="0">
                <a:solidFill>
                  <a:schemeClr val="tx1"/>
                </a:solidFill>
                <a:effectLst/>
                <a:latin typeface="Segoe UI Light" pitchFamily="34" charset="0"/>
                <a:ea typeface="+mn-ea"/>
                <a:cs typeface="+mn-cs"/>
              </a:rPr>
              <a:t>Always Encrypted makes encryption transparent to applications. An Always Encrypted-enabled driver installed on the client’s computer achieves this by automatically encrypting and decrypting sensitive data in the client application. The architecture for Always Encrypted has the application performing the column-level encryption prior to the confidential data being sent to Microsoft</a:t>
            </a:r>
            <a:r>
              <a:rPr lang="en-US" sz="900" kern="1200" baseline="0" dirty="0">
                <a:solidFill>
                  <a:schemeClr val="tx1"/>
                </a:solidFill>
                <a:effectLst/>
                <a:latin typeface="Segoe UI Light" pitchFamily="34" charset="0"/>
                <a:ea typeface="+mn-ea"/>
                <a:cs typeface="+mn-cs"/>
              </a:rPr>
              <a:t> SQL </a:t>
            </a:r>
            <a:r>
              <a:rPr lang="en-US" sz="900" kern="1200" dirty="0">
                <a:solidFill>
                  <a:schemeClr val="tx1"/>
                </a:solidFill>
                <a:effectLst/>
                <a:latin typeface="Segoe UI Light" pitchFamily="34" charset="0"/>
                <a:ea typeface="+mn-ea"/>
                <a:cs typeface="+mn-cs"/>
              </a:rPr>
              <a:t>Server.</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actual encryption is done by the ADO.NET drivers on an application or client machine. When a .NET application sends plain text data to ADO.NET, it</a:t>
            </a:r>
            <a:r>
              <a:rPr lang="en-US" sz="900" kern="1200" baseline="0" dirty="0">
                <a:solidFill>
                  <a:schemeClr val="tx1"/>
                </a:solidFill>
                <a:effectLst/>
                <a:latin typeface="Segoe UI Light" pitchFamily="34" charset="0"/>
                <a:ea typeface="+mn-ea"/>
                <a:cs typeface="+mn-cs"/>
              </a:rPr>
              <a:t> is</a:t>
            </a:r>
            <a:r>
              <a:rPr lang="en-US" sz="900" kern="1200" dirty="0">
                <a:solidFill>
                  <a:schemeClr val="tx1"/>
                </a:solidFill>
                <a:effectLst/>
                <a:latin typeface="Segoe UI Light" pitchFamily="34" charset="0"/>
                <a:ea typeface="+mn-ea"/>
                <a:cs typeface="+mn-cs"/>
              </a:rPr>
              <a:t> encrypted prior to sending it to SQL Server. The only change the application needs to make to store encrypted data is to change the connection string to indicate column encryption is enabled.</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hen column encryption is enabled, ADO.NET will encrypt Always Encrypted columns prior to sending the data to SQL Server and will decrypt Always Encrypted columns when they are read from SQL Server. The diagram on the slide shows this architecture.</a:t>
            </a:r>
            <a:br>
              <a:rPr lang="en-US" sz="900" kern="1200" dirty="0">
                <a:solidFill>
                  <a:schemeClr val="tx1"/>
                </a:solidFill>
                <a:effectLst/>
                <a:latin typeface="Segoe UI Light" pitchFamily="34" charset="0"/>
                <a:ea typeface="+mn-ea"/>
                <a:cs typeface="+mn-cs"/>
              </a:rPr>
            </a:br>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Benefits </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hen it comes to mission-critical security, we have a unique encryption technology that protects data at rest and in motion,</a:t>
            </a:r>
            <a:r>
              <a:rPr lang="en-US" sz="900" kern="1200" baseline="0" dirty="0">
                <a:solidFill>
                  <a:schemeClr val="tx1"/>
                </a:solidFill>
                <a:effectLst/>
                <a:latin typeface="Segoe UI Light" pitchFamily="34" charset="0"/>
                <a:ea typeface="+mn-ea"/>
                <a:cs typeface="+mn-cs"/>
              </a:rPr>
              <a:t> allowing data to be</a:t>
            </a:r>
            <a:r>
              <a:rPr lang="en-US" sz="900" kern="1200" dirty="0">
                <a:solidFill>
                  <a:schemeClr val="tx1"/>
                </a:solidFill>
                <a:effectLst/>
                <a:latin typeface="Segoe UI Light" pitchFamily="34" charset="0"/>
                <a:ea typeface="+mn-ea"/>
                <a:cs typeface="+mn-cs"/>
              </a:rPr>
              <a:t> fully queried while encrypted. The new ADO.NET library provides transparent, client-side encryption, while SQL Server executes T-SQL queries on encrypted data.</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master keys stay with the application and not with the SQL Server. This can work on-premises or from SQL Server in Microsof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zure Virtual Machines. So think about the hybrid scenarios in which you want to take advantage of Azure cloud computing, keeping in mind that some databases cannot take advantage of cloud scale due to data security requirements.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lways Encrypted allows organizations to encrypt data at rest and in use for storage in Azure, in order to enable delegation of on-premises database administration to third parties or reduce security clearance requirements for their own DBA staff. As a result, Always Encrypted provides a separation between those who own the data (and can view it) and those who manage the data (but should have no access).</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9</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3069197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92500" lnSpcReduction="10000"/>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shows how Always Encrypted work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3E3E3"/>
                </a:solidFill>
                <a:effectLst/>
                <a:latin typeface="Segoe UI" panose="020B0502040204020203" pitchFamily="34" charset="0"/>
              </a:rPr>
              <a:t>How it Works: </a:t>
            </a:r>
            <a:r>
              <a:rPr lang="en-US" sz="2000" dirty="0">
                <a:hlinkClick r:id="rId3"/>
              </a:rPr>
              <a:t>https://docs.microsoft.com/en-us/sql/relational-databases/security/encryption/always-encrypted-database-engine?view=sql-server-ver15</a:t>
            </a:r>
            <a:endParaRPr lang="en-US" sz="900" kern="1200" dirty="0">
              <a:solidFill>
                <a:schemeClr val="tx1"/>
              </a:solidFill>
              <a:effectLst/>
              <a:latin typeface="Segoe UI Light" pitchFamily="34" charset="0"/>
              <a:ea typeface="+mn-ea"/>
              <a:cs typeface="+mn-cs"/>
            </a:endParaRP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Here is how the feature work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Users specify the individual columns of particular tables to be encrypted.</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fter it is encrypted, data appears as an encrypted binary blob at all stages within the SQL Server database—on disk, in memory, during computations, and over the network.</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Users employ a certificate store to save the encryption key.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Both encryption and decryption are done by the ADO.NET </a:t>
            </a:r>
            <a:r>
              <a:rPr lang="en-US" sz="900" kern="1200" dirty="0" err="1">
                <a:solidFill>
                  <a:schemeClr val="tx1"/>
                </a:solidFill>
                <a:effectLst/>
                <a:latin typeface="Segoe UI Light" pitchFamily="34" charset="0"/>
                <a:ea typeface="+mn-ea"/>
                <a:cs typeface="+mn-cs"/>
              </a:rPr>
              <a:t>SqlClient</a:t>
            </a:r>
            <a:r>
              <a:rPr lang="en-US" sz="900" kern="1200" dirty="0">
                <a:solidFill>
                  <a:schemeClr val="tx1"/>
                </a:solidFill>
                <a:effectLst/>
                <a:latin typeface="Segoe UI Light" pitchFamily="34" charset="0"/>
                <a:ea typeface="+mn-ea"/>
                <a:cs typeface="+mn-cs"/>
              </a:rPr>
              <a:t> driver for </a:t>
            </a:r>
            <a:r>
              <a:rPr lang="en-US" sz="900" kern="1200" dirty="0" err="1">
                <a:solidFill>
                  <a:schemeClr val="tx1"/>
                </a:solidFill>
                <a:effectLst/>
                <a:latin typeface="Segoe UI Light" pitchFamily="34" charset="0"/>
                <a:ea typeface="+mn-ea"/>
                <a:cs typeface="+mn-cs"/>
              </a:rPr>
              <a:t>.Net</a:t>
            </a:r>
            <a:r>
              <a:rPr lang="en-US" sz="900" kern="1200" dirty="0">
                <a:solidFill>
                  <a:schemeClr val="tx1"/>
                </a:solidFill>
                <a:effectLst/>
                <a:latin typeface="Segoe UI Light" pitchFamily="34" charset="0"/>
                <a:ea typeface="+mn-ea"/>
                <a:cs typeface="+mn-cs"/>
              </a:rPr>
              <a:t> 4.6. This driver will require access to the encryption key (from the certificate store, generally) and thereafter will communicate with the SQL Server directly to effect transparent encryption.</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pecifically, when queries are parameterized, </a:t>
            </a:r>
            <a:r>
              <a:rPr lang="en-US" sz="900" kern="1200" dirty="0" err="1">
                <a:solidFill>
                  <a:schemeClr val="tx1"/>
                </a:solidFill>
                <a:effectLst/>
                <a:latin typeface="Segoe UI Light" pitchFamily="34" charset="0"/>
                <a:ea typeface="+mn-ea"/>
                <a:cs typeface="+mn-cs"/>
              </a:rPr>
              <a:t>SqlClient</a:t>
            </a:r>
            <a:r>
              <a:rPr lang="en-US" sz="900" kern="1200" dirty="0">
                <a:solidFill>
                  <a:schemeClr val="tx1"/>
                </a:solidFill>
                <a:effectLst/>
                <a:latin typeface="Segoe UI Light" pitchFamily="34" charset="0"/>
                <a:ea typeface="+mn-ea"/>
                <a:cs typeface="+mn-cs"/>
              </a:rPr>
              <a:t> will handshake with the SQL Server and identify which parameters are encrypted and will manage this process in both direction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For example, the client code specifies a select statement with the parameter “where SSN = @SSN” and provides the parameter value “@SSN=’123-45-6789′” and the driver itself intercepts the parameter value and properly encrypts it.</a:t>
            </a:r>
          </a:p>
          <a:p>
            <a:endParaRPr lang="en-US" i="1"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1" i="1" kern="1200" dirty="0">
                <a:solidFill>
                  <a:schemeClr val="tx1"/>
                </a:solidFill>
                <a:effectLst/>
                <a:latin typeface="Segoe UI Light" pitchFamily="34" charset="0"/>
                <a:ea typeface="+mn-ea"/>
                <a:cs typeface="+mn-cs"/>
              </a:rPr>
              <a:t>Animation &lt;&lt;first click&gt;&gt; </a:t>
            </a:r>
            <a:r>
              <a:rPr lang="en-US" sz="900" b="1" kern="1200" dirty="0">
                <a:solidFill>
                  <a:schemeClr val="tx1"/>
                </a:solidFill>
                <a:effectLst/>
                <a:latin typeface="Segoe UI Light" pitchFamily="34" charset="0"/>
                <a:ea typeface="+mn-ea"/>
                <a:cs typeface="+mn-cs"/>
              </a:rPr>
              <a:t>“SELECT</a:t>
            </a:r>
            <a:r>
              <a:rPr lang="en-US" sz="900" b="1" kern="1200" baseline="0" dirty="0">
                <a:solidFill>
                  <a:schemeClr val="tx1"/>
                </a:solidFill>
                <a:effectLst/>
                <a:latin typeface="Segoe UI Light" pitchFamily="34" charset="0"/>
                <a:ea typeface="+mn-ea"/>
                <a:cs typeface="+mn-cs"/>
              </a:rPr>
              <a:t> Name FROM Customers WHERE SSN = @SNN”, “111-22-3333” with arrow</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i="1" kern="1200" dirty="0">
                <a:solidFill>
                  <a:schemeClr val="tx1"/>
                </a:solidFill>
                <a:effectLst/>
                <a:latin typeface="Segoe UI Light" pitchFamily="34" charset="0"/>
                <a:ea typeface="+mn-ea"/>
                <a:cs typeface="+mn-cs"/>
              </a:rPr>
              <a:t>Animation &lt;&lt;second click&gt;&gt; </a:t>
            </a:r>
            <a:r>
              <a:rPr lang="en-US" sz="900" b="1" kern="1200" dirty="0">
                <a:solidFill>
                  <a:schemeClr val="tx1"/>
                </a:solidFill>
                <a:effectLst/>
                <a:latin typeface="Segoe UI Light" pitchFamily="34" charset="0"/>
                <a:ea typeface="+mn-ea"/>
                <a:cs typeface="+mn-cs"/>
              </a:rPr>
              <a:t>“SELECT</a:t>
            </a:r>
            <a:r>
              <a:rPr lang="en-US" sz="900" b="1" kern="1200" baseline="0" dirty="0">
                <a:solidFill>
                  <a:schemeClr val="tx1"/>
                </a:solidFill>
                <a:effectLst/>
                <a:latin typeface="Segoe UI Light" pitchFamily="34" charset="0"/>
                <a:ea typeface="+mn-ea"/>
                <a:cs typeface="+mn-cs"/>
              </a:rPr>
              <a:t> Name FROM Customers WHERE SSN = @SNN” encrypted with arrow</a:t>
            </a:r>
          </a:p>
          <a:p>
            <a:pPr marL="0" marR="0" indent="0" algn="l" defTabSz="932742" rtl="0" eaLnBrk="1" fontAlgn="auto" latinLnBrk="0" hangingPunct="1">
              <a:lnSpc>
                <a:spcPct val="90000"/>
              </a:lnSpc>
              <a:spcBef>
                <a:spcPts val="0"/>
              </a:spcBef>
              <a:spcAft>
                <a:spcPts val="340"/>
              </a:spcAft>
              <a:buClrTx/>
              <a:buSzTx/>
              <a:buFontTx/>
              <a:buNone/>
              <a:tabLst/>
              <a:defRPr/>
            </a:pPr>
            <a:endParaRPr lang="en-US" i="1"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1" i="1" kern="1200" dirty="0">
                <a:solidFill>
                  <a:schemeClr val="tx1"/>
                </a:solidFill>
                <a:effectLst/>
                <a:latin typeface="Segoe UI Light" pitchFamily="34" charset="0"/>
                <a:ea typeface="+mn-ea"/>
                <a:cs typeface="+mn-cs"/>
              </a:rPr>
              <a:t>Animation &lt;&lt;third click&gt;&gt; </a:t>
            </a:r>
            <a:r>
              <a:rPr lang="en-US" sz="900" b="1" kern="1200" dirty="0">
                <a:solidFill>
                  <a:schemeClr val="tx1"/>
                </a:solidFill>
                <a:effectLst/>
                <a:latin typeface="Segoe UI Light" pitchFamily="34" charset="0"/>
                <a:ea typeface="+mn-ea"/>
                <a:cs typeface="+mn-cs"/>
              </a:rPr>
              <a:t>Result Set encrypted</a:t>
            </a:r>
            <a:r>
              <a:rPr lang="en-US" sz="900" b="1" kern="1200" baseline="0" dirty="0">
                <a:solidFill>
                  <a:schemeClr val="tx1"/>
                </a:solidFill>
                <a:effectLst/>
                <a:latin typeface="Segoe UI Light" pitchFamily="34" charset="0"/>
                <a:ea typeface="+mn-ea"/>
                <a:cs typeface="+mn-cs"/>
              </a:rPr>
              <a:t> with arrow</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i="1" kern="1200" dirty="0">
                <a:solidFill>
                  <a:schemeClr val="tx1"/>
                </a:solidFill>
                <a:effectLst/>
                <a:latin typeface="Segoe UI Light" pitchFamily="34" charset="0"/>
                <a:ea typeface="+mn-ea"/>
                <a:cs typeface="+mn-cs"/>
              </a:rPr>
              <a:t>Animation &lt;&lt;fourth click&gt;&gt; </a:t>
            </a:r>
            <a:r>
              <a:rPr lang="en-US" sz="900" b="1" kern="1200" dirty="0">
                <a:solidFill>
                  <a:schemeClr val="tx1"/>
                </a:solidFill>
                <a:effectLst/>
                <a:latin typeface="Segoe UI Light" pitchFamily="34" charset="0"/>
                <a:ea typeface="+mn-ea"/>
                <a:cs typeface="+mn-cs"/>
              </a:rPr>
              <a:t>Result Set </a:t>
            </a:r>
            <a:r>
              <a:rPr lang="en-US" sz="900" b="1" kern="1200" baseline="0" dirty="0">
                <a:solidFill>
                  <a:schemeClr val="tx1"/>
                </a:solidFill>
                <a:effectLst/>
                <a:latin typeface="Segoe UI Light" pitchFamily="34" charset="0"/>
                <a:ea typeface="+mn-ea"/>
                <a:cs typeface="+mn-cs"/>
              </a:rPr>
              <a:t>with arrow</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0</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4087966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77500" lnSpcReduction="20000"/>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a:t>
            </a:r>
            <a:r>
              <a:rPr lang="en-US" sz="900" dirty="0">
                <a:latin typeface="Segoe UI Light" pitchFamily="34" charset="0"/>
              </a:rPr>
              <a:t>e highlights the key provisioning steps in Always Encrypted.</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3E3E3"/>
                </a:solidFill>
                <a:effectLst/>
                <a:latin typeface="Segoe UI" panose="020B0502040204020203" pitchFamily="34" charset="0"/>
              </a:rPr>
              <a:t>Overview of key management for Always Encrypted: </a:t>
            </a:r>
            <a:r>
              <a:rPr lang="en-US" sz="2000" dirty="0">
                <a:hlinkClick r:id="rId3"/>
              </a:rPr>
              <a:t>https://docs.microsoft.com/en-us/sql/relational-databases/security/encryption/overview-of-key-management-for-always-encrypted?view=sql-server-ver15</a:t>
            </a:r>
            <a:endParaRPr lang="en-US" sz="900" dirty="0">
              <a:latin typeface="Segoe UI Light" pitchFamily="34" charset="0"/>
            </a:endParaRP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r>
              <a:rPr lang="en-US" sz="900" kern="1200" dirty="0">
                <a:solidFill>
                  <a:schemeClr val="tx1"/>
                </a:solidFill>
                <a:effectLst/>
                <a:latin typeface="Segoe UI Light" pitchFamily="34" charset="0"/>
                <a:ea typeface="+mn-ea"/>
                <a:cs typeface="+mn-cs"/>
              </a:rPr>
              <a:t>Several core concepts are used in Always Encrypted:</a:t>
            </a:r>
          </a:p>
          <a:p>
            <a:pPr marL="171450" indent="-171450">
              <a:buFont typeface="Arial" panose="020B0604020202020204" pitchFamily="34" charset="0"/>
              <a:buChar char="•"/>
            </a:pPr>
            <a:r>
              <a:rPr lang="en-US" sz="900" u="sng" kern="1200" dirty="0">
                <a:solidFill>
                  <a:schemeClr val="tx1"/>
                </a:solidFill>
                <a:effectLst/>
                <a:latin typeface="Segoe UI Light" pitchFamily="34" charset="0"/>
                <a:ea typeface="+mn-ea"/>
                <a:cs typeface="+mn-cs"/>
              </a:rPr>
              <a:t>Column master key (CMK)</a:t>
            </a:r>
            <a:r>
              <a:rPr lang="en-US" sz="900" kern="1200" dirty="0">
                <a:solidFill>
                  <a:schemeClr val="tx1"/>
                </a:solidFill>
                <a:effectLst/>
                <a:latin typeface="Segoe UI Light" pitchFamily="34" charset="0"/>
                <a:ea typeface="+mn-ea"/>
                <a:cs typeface="+mn-cs"/>
              </a:rPr>
              <a:t>: </a:t>
            </a:r>
            <a:r>
              <a:rPr lang="en-US" dirty="0"/>
              <a:t>E</a:t>
            </a:r>
            <a:r>
              <a:rPr lang="en-US" sz="900" dirty="0">
                <a:latin typeface="Segoe UI Light" pitchFamily="34" charset="0"/>
              </a:rPr>
              <a:t>ncryptio</a:t>
            </a:r>
            <a:r>
              <a:rPr lang="en-US" sz="900" kern="1200" dirty="0">
                <a:solidFill>
                  <a:schemeClr val="tx1"/>
                </a:solidFill>
                <a:effectLst/>
                <a:latin typeface="Segoe UI Light" pitchFamily="34" charset="0"/>
                <a:ea typeface="+mn-ea"/>
                <a:cs typeface="+mn-cs"/>
              </a:rPr>
              <a:t>n key that protects the column encryption key(s). You must have at least one master key before encrypting any columns.</a:t>
            </a:r>
          </a:p>
          <a:p>
            <a:pPr marL="171450" lvl="0" indent="-171450">
              <a:buFont typeface="Arial" panose="020B0604020202020204" pitchFamily="34" charset="0"/>
              <a:buChar char="•"/>
            </a:pPr>
            <a:r>
              <a:rPr lang="en-US" sz="900" u="sng" kern="1200" dirty="0">
                <a:solidFill>
                  <a:schemeClr val="tx1"/>
                </a:solidFill>
                <a:effectLst/>
                <a:latin typeface="Segoe UI Light" pitchFamily="34" charset="0"/>
                <a:ea typeface="+mn-ea"/>
                <a:cs typeface="+mn-cs"/>
              </a:rPr>
              <a:t>Column encryption key (CEK)</a:t>
            </a:r>
            <a:r>
              <a:rPr lang="en-US" sz="900" kern="1200" dirty="0">
                <a:solidFill>
                  <a:schemeClr val="tx1"/>
                </a:solidFill>
                <a:effectLst/>
                <a:latin typeface="Segoe UI Light" pitchFamily="34" charset="0"/>
                <a:ea typeface="+mn-ea"/>
                <a:cs typeface="+mn-cs"/>
              </a:rPr>
              <a:t>: Encryption key that actually protects encrypted columns.</a:t>
            </a:r>
          </a:p>
          <a:p>
            <a:pPr marL="171450" lvl="0" indent="-171450">
              <a:buFont typeface="Arial" panose="020B0604020202020204" pitchFamily="34" charset="0"/>
              <a:buChar char="•"/>
            </a:pPr>
            <a:r>
              <a:rPr lang="en-US" sz="900" u="sng" kern="1200" dirty="0">
                <a:solidFill>
                  <a:schemeClr val="tx1"/>
                </a:solidFill>
                <a:effectLst/>
                <a:latin typeface="Segoe UI Light" pitchFamily="34" charset="0"/>
                <a:ea typeface="+mn-ea"/>
                <a:cs typeface="+mn-cs"/>
              </a:rPr>
              <a:t>CMK </a:t>
            </a:r>
            <a:r>
              <a:rPr lang="en-US" u="sng" dirty="0"/>
              <a:t>s</a:t>
            </a:r>
            <a:r>
              <a:rPr lang="en-US" sz="900" u="sng" kern="1200" dirty="0">
                <a:solidFill>
                  <a:schemeClr val="tx1"/>
                </a:solidFill>
                <a:effectLst/>
                <a:latin typeface="Segoe UI Light" pitchFamily="34" charset="0"/>
                <a:ea typeface="+mn-ea"/>
                <a:cs typeface="+mn-cs"/>
              </a:rPr>
              <a:t>tore provider</a:t>
            </a:r>
            <a:r>
              <a:rPr lang="en-US" sz="900" kern="1200" dirty="0">
                <a:solidFill>
                  <a:schemeClr val="tx1"/>
                </a:solidFill>
                <a:effectLst/>
                <a:latin typeface="Segoe UI Light" pitchFamily="34" charset="0"/>
                <a:ea typeface="+mn-ea"/>
                <a:cs typeface="+mn-cs"/>
              </a:rPr>
              <a:t>: Client-side software component that encapsulates a key store containing the column master key. Providers for common types of key stores are available in client-side driver libraries from Microsoft or as standalone downloads. You can also implement your own provider.  .NET Framework 4.6 must be installed in the machine hosting your client application. .NET Framework 4.6 is available with SQL Server 2016 Community Technology Preview 3 (CTP 3.0) and is installed with SQL Server Management Studio.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Information the driver receives from SQL Server for query parameters that need to be encrypted, and for query results that need to be decrypted, includes:</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An encrypted value of a CEK, used to encrypt or decrypt a parameter or result.</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The name of a key store provider that encapsulates a key store containing the column master key that was used to encrypt the CEK.</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A key path that specifies the location of the CMK in the key store.</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The name of the algorithm that was used to encrypt the CMK.</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Here are the steps for key </a:t>
            </a:r>
            <a:r>
              <a:rPr lang="en-US" dirty="0"/>
              <a:t>p</a:t>
            </a:r>
            <a:r>
              <a:rPr lang="en-US" sz="900" kern="1200" dirty="0">
                <a:solidFill>
                  <a:schemeClr val="tx1"/>
                </a:solidFill>
                <a:effectLst/>
                <a:latin typeface="Segoe UI Light" pitchFamily="34" charset="0"/>
                <a:ea typeface="+mn-ea"/>
                <a:cs typeface="+mn-cs"/>
              </a:rPr>
              <a:t>rovisioning:</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900" kern="1200" dirty="0">
                <a:solidFill>
                  <a:schemeClr val="tx1"/>
                </a:solidFill>
                <a:effectLst/>
                <a:latin typeface="Segoe UI Light" pitchFamily="34" charset="0"/>
                <a:ea typeface="+mn-ea"/>
                <a:cs typeface="+mn-cs"/>
              </a:rPr>
              <a:t>Create a local, self-signed certificate on the development machine, which will act as a CMK. </a:t>
            </a:r>
            <a:r>
              <a:rPr lang="en-US" sz="900" b="1" i="1" kern="1200" dirty="0">
                <a:solidFill>
                  <a:schemeClr val="tx1"/>
                </a:solidFill>
                <a:effectLst/>
                <a:latin typeface="Segoe UI Light" pitchFamily="34" charset="0"/>
                <a:ea typeface="+mn-ea"/>
                <a:cs typeface="+mn-cs"/>
              </a:rPr>
              <a:t>Animation &lt;&lt;first click&gt;&gt;</a:t>
            </a:r>
            <a:endParaRPr lang="en-US" sz="900" i="1" kern="1200" dirty="0">
              <a:solidFill>
                <a:schemeClr val="tx1"/>
              </a:solidFill>
              <a:effectLst/>
              <a:latin typeface="Segoe UI Light" pitchFamily="34" charset="0"/>
              <a:ea typeface="+mn-ea"/>
              <a:cs typeface="+mn-cs"/>
            </a:endParaRP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The CMK will be used to protect CEKs, which encrypts the sensitive data. </a:t>
            </a:r>
            <a:r>
              <a:rPr lang="en-US" sz="900" b="1" i="1" kern="1200" dirty="0">
                <a:solidFill>
                  <a:schemeClr val="tx1"/>
                </a:solidFill>
                <a:effectLst/>
                <a:latin typeface="Segoe UI Light" pitchFamily="34" charset="0"/>
                <a:ea typeface="+mn-ea"/>
                <a:cs typeface="+mn-cs"/>
              </a:rPr>
              <a:t>Animation &lt;&lt;second click&gt;&gt;</a:t>
            </a:r>
            <a:endParaRPr lang="en-US" sz="900" i="1" kern="1200" dirty="0">
              <a:solidFill>
                <a:schemeClr val="tx1"/>
              </a:solidFill>
              <a:effectLst/>
              <a:latin typeface="Segoe UI Light" pitchFamily="34" charset="0"/>
              <a:ea typeface="+mn-ea"/>
              <a:cs typeface="+mn-cs"/>
            </a:endParaRP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Create a CMK store definition object in the database, which will store the information about the location of the CMK. Please notice that the certificate will never be copied to the database or SQL Server machine. </a:t>
            </a:r>
            <a:r>
              <a:rPr lang="en-US" sz="900" b="1" i="1" kern="1200" dirty="0">
                <a:solidFill>
                  <a:schemeClr val="tx1"/>
                </a:solidFill>
                <a:effectLst/>
                <a:latin typeface="Segoe UI Light" pitchFamily="34" charset="0"/>
                <a:ea typeface="+mn-ea"/>
                <a:cs typeface="+mn-cs"/>
              </a:rPr>
              <a:t>Animation &lt;&lt;third click&gt;&gt;</a:t>
            </a:r>
            <a:endParaRPr lang="en-US" sz="900" i="1" kern="1200" dirty="0">
              <a:solidFill>
                <a:schemeClr val="tx1"/>
              </a:solidFill>
              <a:effectLst/>
              <a:latin typeface="Segoe UI Light" pitchFamily="34" charset="0"/>
              <a:ea typeface="+mn-ea"/>
              <a:cs typeface="+mn-cs"/>
            </a:endParaRP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Finally, upload the encrypted CEK to the required database. </a:t>
            </a:r>
            <a:r>
              <a:rPr lang="en-US" sz="900" b="1" i="1" kern="1200" dirty="0">
                <a:solidFill>
                  <a:schemeClr val="tx1"/>
                </a:solidFill>
                <a:effectLst/>
                <a:latin typeface="Segoe UI Light" pitchFamily="34" charset="0"/>
                <a:ea typeface="+mn-ea"/>
                <a:cs typeface="+mn-cs"/>
              </a:rPr>
              <a:t>Animation &lt;&lt;fourth click&gt;&gt;</a:t>
            </a:r>
            <a:endParaRPr lang="en-US"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1</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2320159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85000" lnSpcReduction="20000"/>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a:t>
            </a:r>
            <a:r>
              <a:rPr lang="en-US" sz="900" dirty="0">
                <a:latin typeface="Segoe UI Light" pitchFamily="34" charset="0"/>
              </a:rPr>
              <a:t>e highlights the key provisioning steps in Always Encrypted.</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3E3E3"/>
                </a:solidFill>
                <a:effectLst/>
                <a:latin typeface="Segoe UI" panose="020B0502040204020203" pitchFamily="34" charset="0"/>
              </a:rPr>
              <a:t>Overview of key management for Always Encrypted: </a:t>
            </a:r>
            <a:r>
              <a:rPr lang="en-US" sz="2000" dirty="0">
                <a:hlinkClick r:id="rId3"/>
              </a:rPr>
              <a:t>https://docs.microsoft.com/en-us/sql/relational-databases/security/encryption/overview-of-key-management-for-always-encrypted?view=sql-server-ver15</a:t>
            </a:r>
            <a:endParaRPr lang="en-US" sz="900" dirty="0">
              <a:latin typeface="Segoe UI Light" pitchFamily="34" charset="0"/>
            </a:endParaRP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r>
              <a:rPr lang="en-US" sz="900" kern="1200" dirty="0">
                <a:solidFill>
                  <a:schemeClr val="tx1"/>
                </a:solidFill>
                <a:effectLst/>
                <a:latin typeface="Segoe UI Light" pitchFamily="34" charset="0"/>
                <a:ea typeface="+mn-ea"/>
                <a:cs typeface="+mn-cs"/>
              </a:rPr>
              <a:t>Several core concepts are used in Always Encrypted:</a:t>
            </a:r>
          </a:p>
          <a:p>
            <a:pPr marL="171450" indent="-171450">
              <a:buFont typeface="Arial" panose="020B0604020202020204" pitchFamily="34" charset="0"/>
              <a:buChar char="•"/>
            </a:pPr>
            <a:r>
              <a:rPr lang="en-US" sz="900" u="sng" kern="1200" dirty="0">
                <a:solidFill>
                  <a:schemeClr val="tx1"/>
                </a:solidFill>
                <a:effectLst/>
                <a:latin typeface="Segoe UI Light" pitchFamily="34" charset="0"/>
                <a:ea typeface="+mn-ea"/>
                <a:cs typeface="+mn-cs"/>
              </a:rPr>
              <a:t>Column master key (CMK)</a:t>
            </a:r>
            <a:r>
              <a:rPr lang="en-US" sz="900" kern="1200" dirty="0">
                <a:solidFill>
                  <a:schemeClr val="tx1"/>
                </a:solidFill>
                <a:effectLst/>
                <a:latin typeface="Segoe UI Light" pitchFamily="34" charset="0"/>
                <a:ea typeface="+mn-ea"/>
                <a:cs typeface="+mn-cs"/>
              </a:rPr>
              <a:t>: </a:t>
            </a:r>
            <a:r>
              <a:rPr lang="en-US" dirty="0"/>
              <a:t>E</a:t>
            </a:r>
            <a:r>
              <a:rPr lang="en-US" sz="900" dirty="0">
                <a:latin typeface="Segoe UI Light" pitchFamily="34" charset="0"/>
              </a:rPr>
              <a:t>ncryptio</a:t>
            </a:r>
            <a:r>
              <a:rPr lang="en-US" sz="900" kern="1200" dirty="0">
                <a:solidFill>
                  <a:schemeClr val="tx1"/>
                </a:solidFill>
                <a:effectLst/>
                <a:latin typeface="Segoe UI Light" pitchFamily="34" charset="0"/>
                <a:ea typeface="+mn-ea"/>
                <a:cs typeface="+mn-cs"/>
              </a:rPr>
              <a:t>n key that protects the column encryption key(s). You must have at least one master key before encrypting any columns.</a:t>
            </a:r>
          </a:p>
          <a:p>
            <a:pPr marL="171450" lvl="0" indent="-171450">
              <a:buFont typeface="Arial" panose="020B0604020202020204" pitchFamily="34" charset="0"/>
              <a:buChar char="•"/>
            </a:pPr>
            <a:r>
              <a:rPr lang="en-US" sz="900" u="sng" kern="1200" dirty="0">
                <a:solidFill>
                  <a:schemeClr val="tx1"/>
                </a:solidFill>
                <a:effectLst/>
                <a:latin typeface="Segoe UI Light" pitchFamily="34" charset="0"/>
                <a:ea typeface="+mn-ea"/>
                <a:cs typeface="+mn-cs"/>
              </a:rPr>
              <a:t>Column encryption key (CEK)</a:t>
            </a:r>
            <a:r>
              <a:rPr lang="en-US" sz="900" kern="1200" dirty="0">
                <a:solidFill>
                  <a:schemeClr val="tx1"/>
                </a:solidFill>
                <a:effectLst/>
                <a:latin typeface="Segoe UI Light" pitchFamily="34" charset="0"/>
                <a:ea typeface="+mn-ea"/>
                <a:cs typeface="+mn-cs"/>
              </a:rPr>
              <a:t>: Encryption key that actually protects encrypted columns.</a:t>
            </a:r>
          </a:p>
          <a:p>
            <a:pPr marL="171450" lvl="0" indent="-171450">
              <a:buFont typeface="Arial" panose="020B0604020202020204" pitchFamily="34" charset="0"/>
              <a:buChar char="•"/>
            </a:pPr>
            <a:r>
              <a:rPr lang="en-US" sz="900" u="sng" kern="1200" dirty="0">
                <a:solidFill>
                  <a:schemeClr val="tx1"/>
                </a:solidFill>
                <a:effectLst/>
                <a:latin typeface="Segoe UI Light" pitchFamily="34" charset="0"/>
                <a:ea typeface="+mn-ea"/>
                <a:cs typeface="+mn-cs"/>
              </a:rPr>
              <a:t>CMK </a:t>
            </a:r>
            <a:r>
              <a:rPr lang="en-US" u="sng" dirty="0"/>
              <a:t>s</a:t>
            </a:r>
            <a:r>
              <a:rPr lang="en-US" sz="900" u="sng" kern="1200" dirty="0">
                <a:solidFill>
                  <a:schemeClr val="tx1"/>
                </a:solidFill>
                <a:effectLst/>
                <a:latin typeface="Segoe UI Light" pitchFamily="34" charset="0"/>
                <a:ea typeface="+mn-ea"/>
                <a:cs typeface="+mn-cs"/>
              </a:rPr>
              <a:t>tore provider</a:t>
            </a:r>
            <a:r>
              <a:rPr lang="en-US" sz="900" kern="1200" dirty="0">
                <a:solidFill>
                  <a:schemeClr val="tx1"/>
                </a:solidFill>
                <a:effectLst/>
                <a:latin typeface="Segoe UI Light" pitchFamily="34" charset="0"/>
                <a:ea typeface="+mn-ea"/>
                <a:cs typeface="+mn-cs"/>
              </a:rPr>
              <a:t>: Client-side software component that encapsulates a key store containing the column master key. Providers for common types of key stores are available in client-side driver libraries from Microsoft or as standalone downloads. You can also implement your own provider.  .NET Framework 4.6 must be installed in the machine hosting your client application. .NET Framework 4.6 is available with SQL Server 2016 Community Technology Preview 3 (CTP 3.0) and is installed with SQL Server Management Studio.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Information the driver receives from SQL Server for query parameters that need to be encrypted, and for query results that need to be decrypted, includes:</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An encrypted value of a CEK, used to encrypt or decrypt a parameter or result.</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The name of a key store provider that encapsulates a key store containing the column master key that was used to encrypt the CEK.</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A key path that specifies the location of the CMK in the key store.</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The name of the algorithm that was used to encrypt the CMK.</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Here are the steps for key </a:t>
            </a:r>
            <a:r>
              <a:rPr lang="en-US" dirty="0"/>
              <a:t>p</a:t>
            </a:r>
            <a:r>
              <a:rPr lang="en-US" sz="900" kern="1200" dirty="0">
                <a:solidFill>
                  <a:schemeClr val="tx1"/>
                </a:solidFill>
                <a:effectLst/>
                <a:latin typeface="Segoe UI Light" pitchFamily="34" charset="0"/>
                <a:ea typeface="+mn-ea"/>
                <a:cs typeface="+mn-cs"/>
              </a:rPr>
              <a:t>rovisioning:</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900" kern="1200" dirty="0">
                <a:solidFill>
                  <a:schemeClr val="tx1"/>
                </a:solidFill>
                <a:effectLst/>
                <a:latin typeface="Segoe UI Light" pitchFamily="34" charset="0"/>
                <a:ea typeface="+mn-ea"/>
                <a:cs typeface="+mn-cs"/>
              </a:rPr>
              <a:t>Create a local, self-signed certificate on the development machine, which will act as a CMK. </a:t>
            </a:r>
            <a:r>
              <a:rPr lang="en-US" sz="900" b="1" i="1" kern="1200" dirty="0">
                <a:solidFill>
                  <a:schemeClr val="tx1"/>
                </a:solidFill>
                <a:effectLst/>
                <a:latin typeface="Segoe UI Light" pitchFamily="34" charset="0"/>
                <a:ea typeface="+mn-ea"/>
                <a:cs typeface="+mn-cs"/>
              </a:rPr>
              <a:t>Animation &lt;&lt;first click&gt;&gt;</a:t>
            </a:r>
            <a:endParaRPr lang="en-US" sz="900" i="1" kern="1200" dirty="0">
              <a:solidFill>
                <a:schemeClr val="tx1"/>
              </a:solidFill>
              <a:effectLst/>
              <a:latin typeface="Segoe UI Light" pitchFamily="34" charset="0"/>
              <a:ea typeface="+mn-ea"/>
              <a:cs typeface="+mn-cs"/>
            </a:endParaRP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The CMK will be used to protect CEKs, which encrypts the sensitive data. </a:t>
            </a:r>
            <a:r>
              <a:rPr lang="en-US" sz="900" b="1" i="1" kern="1200" dirty="0">
                <a:solidFill>
                  <a:schemeClr val="tx1"/>
                </a:solidFill>
                <a:effectLst/>
                <a:latin typeface="Segoe UI Light" pitchFamily="34" charset="0"/>
                <a:ea typeface="+mn-ea"/>
                <a:cs typeface="+mn-cs"/>
              </a:rPr>
              <a:t>Animation &lt;&lt;second click&gt;&gt;</a:t>
            </a:r>
            <a:endParaRPr lang="en-US" sz="900" i="1" kern="1200" dirty="0">
              <a:solidFill>
                <a:schemeClr val="tx1"/>
              </a:solidFill>
              <a:effectLst/>
              <a:latin typeface="Segoe UI Light" pitchFamily="34" charset="0"/>
              <a:ea typeface="+mn-ea"/>
              <a:cs typeface="+mn-cs"/>
            </a:endParaRP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Create a CMK store definition object in the database, which will store the information about the location of the CMK. Please notice that the certificate will never be copied to the database or SQL Server machine. </a:t>
            </a:r>
            <a:r>
              <a:rPr lang="en-US" sz="900" b="1" i="1" kern="1200" dirty="0">
                <a:solidFill>
                  <a:schemeClr val="tx1"/>
                </a:solidFill>
                <a:effectLst/>
                <a:latin typeface="Segoe UI Light" pitchFamily="34" charset="0"/>
                <a:ea typeface="+mn-ea"/>
                <a:cs typeface="+mn-cs"/>
              </a:rPr>
              <a:t>Animation &lt;&lt;third click&gt;&gt;</a:t>
            </a:r>
            <a:endParaRPr lang="en-US" sz="900" i="1" kern="1200" dirty="0">
              <a:solidFill>
                <a:schemeClr val="tx1"/>
              </a:solidFill>
              <a:effectLst/>
              <a:latin typeface="Segoe UI Light" pitchFamily="34" charset="0"/>
              <a:ea typeface="+mn-ea"/>
              <a:cs typeface="+mn-cs"/>
            </a:endParaRP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Finally, upload the encrypted CEK to the required database. </a:t>
            </a:r>
            <a:r>
              <a:rPr lang="en-US" sz="900" b="1" i="1" kern="1200" dirty="0">
                <a:solidFill>
                  <a:schemeClr val="tx1"/>
                </a:solidFill>
                <a:effectLst/>
                <a:latin typeface="Segoe UI Light" pitchFamily="34" charset="0"/>
                <a:ea typeface="+mn-ea"/>
                <a:cs typeface="+mn-cs"/>
              </a:rPr>
              <a:t>Animation &lt;&lt;fourth click&gt;&gt;</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8/25/2021 1:19 P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2</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3464698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gives you an overview of the types of encryption for Always Encrypted and the difference between </a:t>
            </a:r>
            <a:r>
              <a:rPr lang="en-US" b="1" dirty="0"/>
              <a:t>randomized </a:t>
            </a:r>
            <a:r>
              <a:rPr lang="en-US" dirty="0"/>
              <a:t>and</a:t>
            </a:r>
            <a:r>
              <a:rPr lang="en-US" b="1" dirty="0"/>
              <a:t> d</a:t>
            </a:r>
            <a:r>
              <a:rPr lang="en-US" sz="900" b="1" kern="1200" dirty="0">
                <a:solidFill>
                  <a:schemeClr val="tx1"/>
                </a:solidFill>
                <a:effectLst/>
                <a:latin typeface="Segoe UI Light" pitchFamily="34" charset="0"/>
                <a:ea typeface="+mn-ea"/>
                <a:cs typeface="+mn-cs"/>
              </a:rPr>
              <a:t>eterministic encryption</a:t>
            </a:r>
            <a:r>
              <a:rPr lang="en-US" sz="900" b="0" kern="1200" dirty="0">
                <a:solidFill>
                  <a:schemeClr val="tx1"/>
                </a:solidFill>
                <a:effectLst/>
                <a:latin typeface="Segoe UI Light" pitchFamily="34" charset="0"/>
                <a:ea typeface="+mn-ea"/>
                <a:cs typeface="+mn-cs"/>
              </a:rPr>
              <a:t>.</a:t>
            </a:r>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r>
              <a:rPr lang="en-US" sz="900" kern="1200" dirty="0">
                <a:solidFill>
                  <a:schemeClr val="tx1"/>
                </a:solidFill>
                <a:effectLst/>
                <a:latin typeface="Segoe UI Light" pitchFamily="34" charset="0"/>
                <a:ea typeface="+mn-ea"/>
                <a:cs typeface="+mn-cs"/>
              </a:rPr>
              <a:t>Always Encrypted supports two types of encryption: randomized encryption and deterministic encryption.</a:t>
            </a:r>
            <a:endParaRPr lang="en-US" sz="900" b="1" kern="1200" dirty="0">
              <a:solidFill>
                <a:schemeClr val="tx1"/>
              </a:solidFill>
              <a:effectLst/>
              <a:latin typeface="Segoe UI Light" pitchFamily="34" charset="0"/>
              <a:ea typeface="+mn-ea"/>
              <a:cs typeface="+mn-cs"/>
            </a:endParaRPr>
          </a:p>
          <a:p>
            <a:pPr lvl="0"/>
            <a:r>
              <a:rPr lang="en-US" sz="900" b="1" kern="1200" dirty="0">
                <a:solidFill>
                  <a:schemeClr val="tx1"/>
                </a:solidFill>
                <a:effectLst/>
                <a:latin typeface="Segoe UI Light" pitchFamily="34" charset="0"/>
                <a:ea typeface="+mn-ea"/>
                <a:cs typeface="+mn-cs"/>
              </a:rPr>
              <a:t>Randomized encryption </a:t>
            </a:r>
            <a:r>
              <a:rPr lang="en-US" sz="900" kern="1200" dirty="0">
                <a:solidFill>
                  <a:schemeClr val="tx1"/>
                </a:solidFill>
                <a:effectLst/>
                <a:latin typeface="Segoe UI Light" pitchFamily="34" charset="0"/>
                <a:ea typeface="+mn-ea"/>
                <a:cs typeface="+mn-cs"/>
              </a:rPr>
              <a:t>uses a method that encrypts data in a less predictable manner. Randomized encryption is more secure, but prevents equality searches, grouping, indexing, and joining on encrypted columns.</a:t>
            </a:r>
          </a:p>
          <a:p>
            <a:pPr lvl="0"/>
            <a:endParaRPr lang="en-US" sz="900" b="1" kern="1200" dirty="0">
              <a:solidFill>
                <a:schemeClr val="tx1"/>
              </a:solidFill>
              <a:effectLst/>
              <a:latin typeface="Segoe UI Light" pitchFamily="34" charset="0"/>
              <a:ea typeface="+mn-ea"/>
              <a:cs typeface="+mn-cs"/>
            </a:endParaRPr>
          </a:p>
          <a:p>
            <a:pPr lvl="0"/>
            <a:r>
              <a:rPr lang="en-US" sz="900" b="1" kern="1200" dirty="0">
                <a:solidFill>
                  <a:schemeClr val="tx1"/>
                </a:solidFill>
                <a:effectLst/>
                <a:latin typeface="Segoe UI Light" pitchFamily="34" charset="0"/>
                <a:ea typeface="+mn-ea"/>
                <a:cs typeface="+mn-cs"/>
              </a:rPr>
              <a:t>Deterministic encryption</a:t>
            </a:r>
            <a:r>
              <a:rPr lang="en-US" sz="900" kern="1200" dirty="0">
                <a:solidFill>
                  <a:schemeClr val="tx1"/>
                </a:solidFill>
                <a:effectLst/>
                <a:latin typeface="Segoe UI Light" pitchFamily="34" charset="0"/>
                <a:ea typeface="+mn-ea"/>
                <a:cs typeface="+mn-cs"/>
              </a:rPr>
              <a:t> uses a method that always generates the same encrypted value for any given plain text value. Using deterministic encryption allows grouping, filtering by equality, and joining tables based on encrypted values, but can also allow unauthorized users to guess information about encrypted values by examining patterns in the encrypted column. This weakness is increased when there is a small set of possible encrypted values, such as true/false, or north/south/east/west region. Deterministic encryption must use a column collation with a binary2 sort order for character columns.</a:t>
            </a:r>
          </a:p>
          <a:p>
            <a:r>
              <a:rPr lang="en-US" sz="900" kern="1200" dirty="0">
                <a:solidFill>
                  <a:schemeClr val="tx1"/>
                </a:solidFill>
                <a:effectLst/>
                <a:latin typeface="Segoe UI Light" pitchFamily="34" charset="0"/>
                <a:ea typeface="+mn-ea"/>
                <a:cs typeface="+mn-cs"/>
              </a:rPr>
              <a:t>Use deterministic encryption for columns that will be used as search or grouping parameters, for example, a government ID number. Use randomized encryption for data such as confidential investigation comments—which are not grouped with other records or used to join </a:t>
            </a:r>
            <a:r>
              <a:rPr lang="en-US" dirty="0"/>
              <a:t>tables—from </a:t>
            </a:r>
            <a:r>
              <a:rPr lang="en-US" sz="900" kern="1200" dirty="0">
                <a:solidFill>
                  <a:schemeClr val="tx1"/>
                </a:solidFill>
                <a:effectLst/>
                <a:latin typeface="Segoe UI Light" pitchFamily="34" charset="0"/>
                <a:ea typeface="+mn-ea"/>
                <a:cs typeface="+mn-cs"/>
              </a:rPr>
              <a:t>the row that contains the encrypted column of interest.</a:t>
            </a:r>
          </a:p>
          <a:p>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00" kern="1200" dirty="0">
                <a:solidFill>
                  <a:schemeClr val="tx1"/>
                </a:solidFill>
                <a:effectLst/>
                <a:latin typeface="Segoe UI Light" pitchFamily="34" charset="0"/>
                <a:ea typeface="+mn-ea"/>
                <a:cs typeface="+mn-cs"/>
              </a:rPr>
              <a:t> </a:t>
            </a:r>
            <a:r>
              <a:rPr lang="en-US" sz="700" b="1" i="0" dirty="0">
                <a:solidFill>
                  <a:srgbClr val="E3E3E3"/>
                </a:solidFill>
                <a:effectLst/>
                <a:latin typeface="Segoe UI" panose="020B0502040204020203" pitchFamily="34" charset="0"/>
              </a:rPr>
              <a:t>Selecting Deterministic or Randomized Encryption: </a:t>
            </a:r>
            <a:r>
              <a:rPr lang="en-US" sz="800" dirty="0">
                <a:hlinkClick r:id="rId3"/>
              </a:rPr>
              <a:t>https://docs.microsoft.com/en-us/sql/relational-databases/security/encryption/always-encrypted-database-engine?view=sql-server-ver15#selecting--deterministic-or-randomized-encryption</a:t>
            </a:r>
            <a:endParaRPr lang="en-US" sz="700" kern="1200" dirty="0">
              <a:solidFill>
                <a:schemeClr val="tx1"/>
              </a:solidFill>
              <a:effectLst/>
              <a:latin typeface="Segoe UI Light" pitchFamily="34" charset="0"/>
              <a:ea typeface="+mn-ea"/>
              <a:cs typeface="+mn-cs"/>
            </a:endParaRPr>
          </a:p>
          <a:p>
            <a:r>
              <a:rPr lang="en-US" sz="700" kern="1200" dirty="0">
                <a:solidFill>
                  <a:schemeClr val="tx1"/>
                </a:solidFill>
                <a:effectLst/>
                <a:latin typeface="Segoe UI Light" pitchFamily="34" charset="0"/>
                <a:ea typeface="+mn-ea"/>
                <a:cs typeface="+mn-cs"/>
              </a:rPr>
              <a:t> </a:t>
            </a:r>
          </a:p>
          <a:p>
            <a:endParaRPr lang="en-US" dirty="0"/>
          </a:p>
        </p:txBody>
      </p:sp>
    </p:spTree>
    <p:extLst>
      <p:ext uri="{BB962C8B-B14F-4D97-AF65-F5344CB8AC3E}">
        <p14:creationId xmlns:p14="http://schemas.microsoft.com/office/powerpoint/2010/main" val="39978935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877191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437437" y="1394223"/>
            <a:ext cx="5334000" cy="6903639"/>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66751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364854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762541" y="4126542"/>
            <a:ext cx="4934424" cy="3292466"/>
          </a:xfrm>
          <a:prstGeom prst="rect">
            <a:avLst/>
          </a:prstGeom>
        </p:spPr>
      </p:pic>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588069" y="1978220"/>
            <a:ext cx="3854937" cy="4987354"/>
          </a:xfrm>
          <a:prstGeom prst="rect">
            <a:avLst/>
          </a:prstGeom>
        </p:spPr>
      </p:pic>
      <p:sp>
        <p:nvSpPr>
          <p:cNvPr id="6" name="Title 4"/>
          <p:cNvSpPr>
            <a:spLocks noGrp="1"/>
          </p:cNvSpPr>
          <p:nvPr>
            <p:ph type="title" hasCustomPrompt="1"/>
          </p:nvPr>
        </p:nvSpPr>
        <p:spPr>
          <a:xfrm>
            <a:off x="274639" y="1209973"/>
            <a:ext cx="10056812" cy="2751698"/>
          </a:xfrm>
        </p:spPr>
        <p:txBody>
          <a:bodyPr/>
          <a:lstStyle>
            <a:lvl1pPr>
              <a:defRPr sz="7200"/>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3976552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3"/>
          <p:cNvSpPr txBox="1">
            <a:spLocks/>
          </p:cNvSpPr>
          <p:nvPr userDrawn="1"/>
        </p:nvSpPr>
        <p:spPr>
          <a:xfrm>
            <a:off x="4680575" y="6622132"/>
            <a:ext cx="2901844" cy="372394"/>
          </a:xfrm>
          <a:prstGeom prst="rect">
            <a:avLst/>
          </a:prstGeom>
        </p:spPr>
        <p:txBody>
          <a:bodyPr lIns="186538" tIns="46634" rIns="186538" bIns="4663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100" dirty="0">
                <a:latin typeface="Segoe" panose="020B0502040504020203" pitchFamily="34" charset="0"/>
              </a:rPr>
              <a:t>Microsoft Confidential</a:t>
            </a:r>
          </a:p>
        </p:txBody>
      </p:sp>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8" y="1212850"/>
            <a:ext cx="11887200" cy="3120854"/>
          </a:xfrm>
        </p:spPr>
        <p:txBody>
          <a:bodyPr>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baseline="0">
                <a:solidFill>
                  <a:schemeClr val="bg1"/>
                </a:solidFill>
              </a:defRPr>
            </a:lvl1pPr>
          </a:lstStyle>
          <a:p>
            <a:pPr lvl="0"/>
            <a:r>
              <a:rPr lang="en-US" dirty="0"/>
              <a:t>Question 1</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874423" y="4187676"/>
            <a:ext cx="4827756" cy="3221292"/>
          </a:xfrm>
          <a:prstGeom prst="rect">
            <a:avLst/>
          </a:prstGeom>
        </p:spPr>
      </p:pic>
    </p:spTree>
    <p:extLst>
      <p:ext uri="{BB962C8B-B14F-4D97-AF65-F5344CB8AC3E}">
        <p14:creationId xmlns:p14="http://schemas.microsoft.com/office/powerpoint/2010/main" val="342600089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
        <p:nvSpPr>
          <p:cNvPr id="4" name="Slide Number Placeholder 3"/>
          <p:cNvSpPr txBox="1">
            <a:spLocks/>
          </p:cNvSpPr>
          <p:nvPr userDrawn="1"/>
        </p:nvSpPr>
        <p:spPr>
          <a:xfrm>
            <a:off x="4680575" y="6622132"/>
            <a:ext cx="2901844" cy="372394"/>
          </a:xfrm>
          <a:prstGeom prst="rect">
            <a:avLst/>
          </a:prstGeom>
        </p:spPr>
        <p:txBody>
          <a:bodyPr lIns="186538" tIns="46634" rIns="186538" bIns="4663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100" dirty="0">
                <a:latin typeface="Segoe" panose="020B0502040504020203" pitchFamily="34" charset="0"/>
              </a:rPr>
              <a:t>Microsoft Confidential</a:t>
            </a:r>
          </a:p>
        </p:txBody>
      </p:sp>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7803" y="307759"/>
            <a:ext cx="11500630" cy="699453"/>
          </a:xfrm>
        </p:spPr>
        <p:txBody>
          <a:bodyPr>
            <a:normAutofit/>
          </a:bodyPr>
          <a:lstStyle>
            <a:lvl1pPr>
              <a:defRPr sz="3264"/>
            </a:lvl1pPr>
          </a:lstStyle>
          <a:p>
            <a:r>
              <a:rPr lang="en-US" dirty="0"/>
              <a:t>Click to edit Master title style</a:t>
            </a:r>
          </a:p>
        </p:txBody>
      </p:sp>
      <p:sp>
        <p:nvSpPr>
          <p:cNvPr id="5" name="Slide Number Placeholder 4"/>
          <p:cNvSpPr>
            <a:spLocks noGrp="1"/>
          </p:cNvSpPr>
          <p:nvPr>
            <p:ph type="sldNum" sz="quarter" idx="12"/>
          </p:nvPr>
        </p:nvSpPr>
        <p:spPr>
          <a:xfrm>
            <a:off x="9028104" y="6482889"/>
            <a:ext cx="2798207" cy="372394"/>
          </a:xfrm>
          <a:prstGeom prst="rect">
            <a:avLst/>
          </a:prstGeom>
        </p:spPr>
        <p:txBody>
          <a:bodyPr/>
          <a:lstStyle>
            <a:lvl1pPr>
              <a:defRPr sz="918"/>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10404" y="1165754"/>
            <a:ext cx="11398029" cy="1793120"/>
          </a:xfrm>
        </p:spPr>
        <p:txBody>
          <a:bodyPr/>
          <a:lstStyle>
            <a:lvl1pPr>
              <a:defRPr sz="1836"/>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767316" y="6481594"/>
            <a:ext cx="2901844" cy="372394"/>
          </a:xfrm>
          <a:prstGeom prst="rect">
            <a:avLst/>
          </a:prstGeom>
        </p:spPr>
        <p:txBody>
          <a:bodyPr vert="horz" lIns="186521" tIns="46630" rIns="186521" bIns="4663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18"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8776329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479824867"/>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638" y="1212850"/>
            <a:ext cx="11887200" cy="3582519"/>
          </a:xfrm>
        </p:spPr>
        <p:txBody>
          <a:bodyPr>
            <a:spAutoFit/>
          </a:bodyPr>
          <a:lstStyle>
            <a:lvl1pPr>
              <a:defRPr sz="4000" baseline="0">
                <a:solidFill>
                  <a:schemeClr val="bg1"/>
                </a:solidFill>
                <a:latin typeface="+mj-lt"/>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800"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228587122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029059862"/>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838932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01807101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094525932"/>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7669995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578373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83611392"/>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43225090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883116849"/>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425141568"/>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4498864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06205039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67924588"/>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1877950"/>
          </a:xfrm>
          <a:prstGeom prst="rect">
            <a:avLst/>
          </a:prstGeom>
        </p:spPr>
        <p:txBody>
          <a:bodyPr/>
          <a:lstStyle>
            <a:lvl1pPr>
              <a:defRPr sz="2448"/>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25690850"/>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7"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A8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2">
    <p:bg>
      <p:bgPr>
        <a:solidFill>
          <a:srgbClr val="0072C6"/>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8588069" y="1978220"/>
            <a:ext cx="3854937" cy="4987354"/>
          </a:xfrm>
          <a:prstGeom prst="rect">
            <a:avLst/>
          </a:prstGeom>
        </p:spPr>
      </p:pic>
      <p:sp>
        <p:nvSpPr>
          <p:cNvPr id="4" name="Title 4"/>
          <p:cNvSpPr>
            <a:spLocks noGrp="1"/>
          </p:cNvSpPr>
          <p:nvPr>
            <p:ph type="title" hasCustomPrompt="1"/>
          </p:nvPr>
        </p:nvSpPr>
        <p:spPr>
          <a:xfrm>
            <a:off x="274639" y="1209973"/>
            <a:ext cx="10056812" cy="2751698"/>
          </a:xfrm>
        </p:spPr>
        <p:txBody>
          <a:bodyPr/>
          <a:lstStyle>
            <a:lvl1pPr>
              <a:defRPr sz="7200"/>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680575" y="6622132"/>
            <a:ext cx="2901844" cy="372394"/>
          </a:xfrm>
          <a:prstGeom prst="rect">
            <a:avLst/>
          </a:prstGeom>
        </p:spPr>
        <p:txBody>
          <a:bodyPr lIns="186538" tIns="46634" rIns="186538" bIns="4663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100" dirty="0">
                <a:latin typeface="Segoe" panose="020B0502040504020203" pitchFamily="34" charset="0"/>
              </a:rPr>
              <a:t>Microsoft Confidential</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71516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t>Microsoft Services</a:t>
            </a:r>
            <a:endParaRPr lang="en-US" sz="2400" dirty="0">
              <a:latin typeface="Segoe UI"/>
            </a:endParaRPr>
          </a:p>
        </p:txBody>
      </p:sp>
    </p:spTree>
    <p:extLst>
      <p:ext uri="{BB962C8B-B14F-4D97-AF65-F5344CB8AC3E}">
        <p14:creationId xmlns:p14="http://schemas.microsoft.com/office/powerpoint/2010/main" val="3218774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562436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019620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050528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404587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388842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139728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8083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293125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949063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907547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55216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80044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1208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41641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74584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3431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8485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49609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50291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55068442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96217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16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6556418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0385078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17165"/>
            <a:ext cx="8229535" cy="1828800"/>
          </a:xfrm>
          <a:prstGeom prst="rect">
            <a:avLst/>
          </a:prstGeo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Tree>
    <p:extLst>
      <p:ext uri="{BB962C8B-B14F-4D97-AF65-F5344CB8AC3E}">
        <p14:creationId xmlns:p14="http://schemas.microsoft.com/office/powerpoint/2010/main" val="15283253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9405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0283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49117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Slide Photo_Option">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3051" y="3504562"/>
            <a:ext cx="6402389" cy="1828800"/>
          </a:xfrm>
          <a:prstGeom prst="rect">
            <a:avLst/>
          </a:prstGeom>
          <a:noFill/>
        </p:spPr>
        <p:txBody>
          <a:bodyPr lIns="146304" tIns="91440" rIns="146304" bIns="91440" anchor="t" anchorCtr="0"/>
          <a:lstStyle>
            <a:lvl1pPr>
              <a:defRPr sz="4049" spc="-75" baseline="0">
                <a:gradFill>
                  <a:gsLst>
                    <a:gs pos="57576">
                      <a:srgbClr val="FFFFFF"/>
                    </a:gs>
                    <a:gs pos="35000">
                      <a:srgbClr val="FFFFFF"/>
                    </a:gs>
                  </a:gsLst>
                  <a:lin ang="5400000" scaled="0"/>
                </a:gradFill>
              </a:defRPr>
            </a:lvl1pPr>
          </a:lstStyle>
          <a:p>
            <a:r>
              <a:rPr lang="en-US" dirty="0"/>
              <a:t>Presentation title</a:t>
            </a:r>
          </a:p>
        </p:txBody>
      </p:sp>
      <p:pic>
        <p:nvPicPr>
          <p:cNvPr id="4" name="Picture 3" descr="A picture containing bridge, water, light&#10;&#10;Description automatically generated">
            <a:extLst>
              <a:ext uri="{FF2B5EF4-FFF2-40B4-BE49-F238E27FC236}">
                <a16:creationId xmlns:a16="http://schemas.microsoft.com/office/drawing/2014/main" id="{80C823BC-3C70-4E25-8C60-5F08CB2341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2560"/>
            <a:ext cx="12436475" cy="7027085"/>
          </a:xfrm>
          <a:prstGeom prst="rect">
            <a:avLst/>
          </a:prstGeom>
        </p:spPr>
      </p:pic>
    </p:spTree>
    <p:extLst>
      <p:ext uri="{BB962C8B-B14F-4D97-AF65-F5344CB8AC3E}">
        <p14:creationId xmlns:p14="http://schemas.microsoft.com/office/powerpoint/2010/main" val="1898721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186458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5">
            <a:extLst>
              <a:ext uri="{FF2B5EF4-FFF2-40B4-BE49-F238E27FC236}">
                <a16:creationId xmlns:a16="http://schemas.microsoft.com/office/drawing/2014/main" id="{B97B15E4-CDBA-4931-BA44-2308C213F725}"/>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427407091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421236248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B7899E10-A5AD-4F10-B12D-0B5A23C4BFEA}"/>
              </a:ext>
            </a:extLst>
          </p:cNvPr>
          <p:cNvSpPr>
            <a:spLocks noGrp="1"/>
          </p:cNvSpPr>
          <p:nvPr>
            <p:ph type="title"/>
          </p:nvPr>
        </p:nvSpPr>
        <p:spPr>
          <a:xfrm>
            <a:off x="274637" y="178367"/>
            <a:ext cx="11192828" cy="1165754"/>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355058302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38"/>
            <a:ext cx="10571004" cy="1499289"/>
          </a:xfrm>
        </p:spPr>
        <p:txBody>
          <a:bodyPr/>
          <a:lstStyle/>
          <a:p>
            <a:r>
              <a:rPr lang="en-US"/>
              <a:t>Click to edit Master title style</a:t>
            </a:r>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21824" y="6482890"/>
            <a:ext cx="2901844" cy="372394"/>
          </a:xfrm>
          <a:prstGeom prst="rect">
            <a:avLst/>
          </a:prstGeom>
        </p:spPr>
        <p:txBody>
          <a:bodyPr/>
          <a:lstStyle/>
          <a:p>
            <a:fld id="{4BAEA856-D6E1-42A4-9356-6BE13B26CF23}" type="datetimeFigureOut">
              <a:rPr lang="en-US" smtClean="0">
                <a:solidFill>
                  <a:prstClr val="black">
                    <a:tint val="75000"/>
                  </a:prstClr>
                </a:solidFill>
              </a:rPr>
              <a:pPr/>
              <a:t>8/25/2021</a:t>
            </a:fld>
            <a:endParaRPr lang="en-US" dirty="0">
              <a:solidFill>
                <a:prstClr val="black">
                  <a:tint val="75000"/>
                </a:prstClr>
              </a:solidFill>
            </a:endParaRPr>
          </a:p>
        </p:txBody>
      </p:sp>
      <p:sp>
        <p:nvSpPr>
          <p:cNvPr id="5" name="Footer Placeholder 4"/>
          <p:cNvSpPr>
            <a:spLocks noGrp="1"/>
          </p:cNvSpPr>
          <p:nvPr>
            <p:ph type="ftr" sz="quarter" idx="11"/>
          </p:nvPr>
        </p:nvSpPr>
        <p:spPr>
          <a:xfrm>
            <a:off x="4249129" y="6482890"/>
            <a:ext cx="3938217" cy="372394"/>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912807" y="6482890"/>
            <a:ext cx="2901844" cy="372394"/>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
        <p:nvSpPr>
          <p:cNvPr id="7" name="Title 5">
            <a:extLst>
              <a:ext uri="{FF2B5EF4-FFF2-40B4-BE49-F238E27FC236}">
                <a16:creationId xmlns:a16="http://schemas.microsoft.com/office/drawing/2014/main" id="{B358B76C-5071-47D4-9FDA-3D4BD8A3AF71}"/>
              </a:ext>
            </a:extLst>
          </p:cNvPr>
          <p:cNvSpPr txBox="1">
            <a:spLocks/>
          </p:cNvSpPr>
          <p:nvPr userDrawn="1"/>
        </p:nvSpPr>
        <p:spPr>
          <a:xfrm>
            <a:off x="274637" y="178367"/>
            <a:ext cx="11192828" cy="1165754"/>
          </a:xfrm>
          <a:prstGeom prst="rect">
            <a:avLst/>
          </a:prstGeom>
        </p:spPr>
        <p:txBody>
          <a:bodyPr vert="horz" lIns="93260" tIns="46630" rIns="93260" bIns="4663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sz="4488"/>
              <a:t>Click to edit Master title style</a:t>
            </a:r>
            <a:endParaRPr lang="en-US" sz="4488" dirty="0"/>
          </a:p>
        </p:txBody>
      </p:sp>
    </p:spTree>
    <p:extLst>
      <p:ext uri="{BB962C8B-B14F-4D97-AF65-F5344CB8AC3E}">
        <p14:creationId xmlns:p14="http://schemas.microsoft.com/office/powerpoint/2010/main" val="39400784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186458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2219106" y="5937251"/>
            <a:ext cx="188435" cy="382308"/>
          </a:xfrm>
          <a:prstGeom prst="rect">
            <a:avLst/>
          </a:prstGeom>
          <a:noFill/>
        </p:spPr>
        <p:txBody>
          <a:bodyPr wrap="none" rtlCol="0">
            <a:spAutoFit/>
          </a:bodyPr>
          <a:lstStyle/>
          <a:p>
            <a:pPr defTabSz="931607"/>
            <a:endParaRPr lang="en-US" sz="1836" dirty="0">
              <a:solidFill>
                <a:prstClr val="black"/>
              </a:solidFill>
            </a:endParaRPr>
          </a:p>
        </p:txBody>
      </p:sp>
    </p:spTree>
    <p:extLst>
      <p:ext uri="{BB962C8B-B14F-4D97-AF65-F5344CB8AC3E}">
        <p14:creationId xmlns:p14="http://schemas.microsoft.com/office/powerpoint/2010/main" val="166277140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508" y="1"/>
            <a:ext cx="12698439" cy="7129035"/>
          </a:xfrm>
          <a:prstGeom prst="rect">
            <a:avLst/>
          </a:prstGeom>
        </p:spPr>
      </p:pic>
      <p:sp>
        <p:nvSpPr>
          <p:cNvPr id="10" name="Rectangle 9"/>
          <p:cNvSpPr/>
          <p:nvPr userDrawn="1"/>
        </p:nvSpPr>
        <p:spPr bwMode="auto">
          <a:xfrm>
            <a:off x="-89685" y="4"/>
            <a:ext cx="9455906" cy="6990844"/>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48" rIns="0" bIns="47548" numCol="1" rtlCol="0" anchor="ctr" anchorCtr="0" compatLnSpc="1">
            <a:prstTxWarp prst="textNoShape">
              <a:avLst/>
            </a:prstTxWarp>
          </a:bodyPr>
          <a:lstStyle/>
          <a:p>
            <a:pPr algn="ctr" defTabSz="931848"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 name="Rectangle 15"/>
          <p:cNvSpPr/>
          <p:nvPr userDrawn="1"/>
        </p:nvSpPr>
        <p:spPr bwMode="auto">
          <a:xfrm>
            <a:off x="22801" y="1377270"/>
            <a:ext cx="12451361" cy="3715174"/>
          </a:xfrm>
          <a:prstGeom prst="rect">
            <a:avLst/>
          </a:prstGeom>
          <a:solidFill>
            <a:schemeClr val="accent4">
              <a:lumMod val="50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1" tIns="146241" rIns="182801" bIns="146241" numCol="1" spcCol="0" rtlCol="0" fromWordArt="0" anchor="t" anchorCtr="0" forceAA="0" compatLnSpc="1">
            <a:prstTxWarp prst="textNoShape">
              <a:avLst/>
            </a:prstTxWarp>
            <a:noAutofit/>
          </a:bodyPr>
          <a:lstStyle/>
          <a:p>
            <a:pPr algn="ctr" defTabSz="931938" fontAlgn="base">
              <a:lnSpc>
                <a:spcPct val="90000"/>
              </a:lnSpc>
              <a:spcBef>
                <a:spcPct val="0"/>
              </a:spcBef>
              <a:spcAft>
                <a:spcPct val="0"/>
              </a:spcAft>
            </a:pPr>
            <a:endParaRPr lang="en-US" sz="2400"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74706" y="1432264"/>
            <a:ext cx="5144048" cy="1831379"/>
          </a:xfrm>
          <a:noFill/>
        </p:spPr>
        <p:txBody>
          <a:bodyPr lIns="149216" tIns="93261" rIns="149216" bIns="93261" anchor="t" anchorCtr="0"/>
          <a:lstStyle>
            <a:lvl1pPr>
              <a:lnSpc>
                <a:spcPct val="150000"/>
              </a:lnSpc>
              <a:defRPr sz="4896"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74706" y="3263642"/>
            <a:ext cx="5144048" cy="1828801"/>
          </a:xfrm>
          <a:noFill/>
        </p:spPr>
        <p:txBody>
          <a:bodyPr lIns="149216" tIns="111912" rIns="149216" bIns="111912">
            <a:noAutofit/>
          </a:bodyPr>
          <a:lstStyle>
            <a:lvl1pPr marL="0" indent="0">
              <a:spcBef>
                <a:spcPts val="0"/>
              </a:spcBef>
              <a:buNone/>
              <a:defRPr sz="359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5138928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theme" Target="../theme/theme2.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theme" Target="../theme/theme3.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1.xml"/><Relationship Id="rId7" Type="http://schemas.openxmlformats.org/officeDocument/2006/relationships/image" Target="../media/image1.png"/><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theme" Target="../theme/theme4.xml"/><Relationship Id="rId5" Type="http://schemas.openxmlformats.org/officeDocument/2006/relationships/slideLayout" Target="../slideLayouts/slideLayout93.xml"/><Relationship Id="rId4" Type="http://schemas.openxmlformats.org/officeDocument/2006/relationships/slideLayout" Target="../slideLayouts/slideLayout92.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slideLayout" Target="../slideLayouts/slideLayout96.xml"/><Relationship Id="rId7" Type="http://schemas.openxmlformats.org/officeDocument/2006/relationships/theme" Target="../theme/theme5.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5" Type="http://schemas.openxmlformats.org/officeDocument/2006/relationships/slideLayout" Target="../slideLayouts/slideLayout98.xml"/><Relationship Id="rId4"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4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299" r:id="rId1"/>
    <p:sldLayoutId id="2147484170" r:id="rId2"/>
    <p:sldLayoutId id="2147484304" r:id="rId3"/>
    <p:sldLayoutId id="2147484087" r:id="rId4"/>
    <p:sldLayoutId id="2147484098" r:id="rId5"/>
    <p:sldLayoutId id="2147484107" r:id="rId6"/>
    <p:sldLayoutId id="2147484086" r:id="rId7"/>
    <p:sldLayoutId id="2147484099" r:id="rId8"/>
    <p:sldLayoutId id="2147484100" r:id="rId9"/>
    <p:sldLayoutId id="2147484106" r:id="rId10"/>
    <p:sldLayoutId id="2147484089" r:id="rId11"/>
    <p:sldLayoutId id="2147484092" r:id="rId12"/>
    <p:sldLayoutId id="2147484105" r:id="rId13"/>
    <p:sldLayoutId id="2147484301" r:id="rId14"/>
    <p:sldLayoutId id="2147484302" r:id="rId15"/>
    <p:sldLayoutId id="2147484130" r:id="rId16"/>
    <p:sldLayoutId id="2147484102" r:id="rId17"/>
    <p:sldLayoutId id="2147484300" r:id="rId18"/>
    <p:sldLayoutId id="2147484182" r:id="rId19"/>
    <p:sldLayoutId id="2147484093" r:id="rId20"/>
    <p:sldLayoutId id="2147484127" r:id="rId21"/>
    <p:sldLayoutId id="2147484128" r:id="rId22"/>
    <p:sldLayoutId id="2147484129" r:id="rId23"/>
    <p:sldLayoutId id="2147484094" r:id="rId24"/>
    <p:sldLayoutId id="2147484303" r:id="rId25"/>
    <p:sldLayoutId id="2147484195" r:id="rId26"/>
    <p:sldLayoutId id="2147484096" r:id="rId27"/>
    <p:sldLayoutId id="2147484305" r:id="rId28"/>
    <p:sldLayoutId id="2147484356" r:id="rId29"/>
    <p:sldLayoutId id="2147484357" r:id="rId30"/>
    <p:sldLayoutId id="2147484358" r:id="rId31"/>
    <p:sldLayoutId id="2147484360" r:id="rId32"/>
    <p:sldLayoutId id="2147484361" r:id="rId33"/>
    <p:sldLayoutId id="2147484362" r:id="rId34"/>
    <p:sldLayoutId id="2147484363" r:id="rId35"/>
    <p:sldLayoutId id="2147484365" r:id="rId36"/>
    <p:sldLayoutId id="2147484367" r:id="rId37"/>
    <p:sldLayoutId id="2147484369" r:id="rId38"/>
    <p:sldLayoutId id="2147484377" r:id="rId39"/>
    <p:sldLayoutId id="2147484378" r:id="rId40"/>
    <p:sldLayoutId id="2147484379" r:id="rId41"/>
    <p:sldLayoutId id="2147484380" r:id="rId42"/>
    <p:sldLayoutId id="2147484381" r:id="rId4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rgbClr val="000000"/>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50" r:id="rId8"/>
    <p:sldLayoutId id="2147484264" r:id="rId9"/>
    <p:sldLayoutId id="2147484251" r:id="rId10"/>
    <p:sldLayoutId id="2147484252" r:id="rId11"/>
    <p:sldLayoutId id="2147484253" r:id="rId12"/>
    <p:sldLayoutId id="2147484254" r:id="rId13"/>
    <p:sldLayoutId id="2147484256" r:id="rId14"/>
    <p:sldLayoutId id="2147484257" r:id="rId15"/>
    <p:sldLayoutId id="2147484258" r:id="rId16"/>
    <p:sldLayoutId id="2147484259" r:id="rId17"/>
    <p:sldLayoutId id="2147484260" r:id="rId18"/>
    <p:sldLayoutId id="2147484263" r:id="rId19"/>
    <p:sldLayoutId id="2147484261" r:id="rId2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507592224"/>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7"/>
          <a:stretch>
            <a:fillRect/>
          </a:stretch>
        </p:blipFill>
        <p:spPr>
          <a:xfrm rot="5400000">
            <a:off x="9393899" y="3050514"/>
            <a:ext cx="6995160" cy="894134"/>
          </a:xfrm>
          <a:prstGeom prst="rect">
            <a:avLst/>
          </a:prstGeom>
        </p:spPr>
      </p:pic>
      <p:sp>
        <p:nvSpPr>
          <p:cNvPr id="6" name="Title 5">
            <a:extLst>
              <a:ext uri="{FF2B5EF4-FFF2-40B4-BE49-F238E27FC236}">
                <a16:creationId xmlns:a16="http://schemas.microsoft.com/office/drawing/2014/main" id="{7270FE98-3C6E-4FEF-BC82-7D7B525B4832}"/>
              </a:ext>
            </a:extLst>
          </p:cNvPr>
          <p:cNvSpPr txBox="1">
            <a:spLocks/>
          </p:cNvSpPr>
          <p:nvPr userDrawn="1"/>
        </p:nvSpPr>
        <p:spPr>
          <a:xfrm>
            <a:off x="274637" y="178367"/>
            <a:ext cx="11192828" cy="1165754"/>
          </a:xfrm>
          <a:prstGeom prst="rect">
            <a:avLst/>
          </a:prstGeom>
        </p:spPr>
        <p:txBody>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accent4">
                    <a:lumMod val="50000"/>
                  </a:schemeClr>
                </a:solidFill>
                <a:effectLst/>
                <a:latin typeface="+mj-lt"/>
                <a:ea typeface="+mn-ea"/>
                <a:cs typeface="Segoe UI" pitchFamily="34" charset="0"/>
              </a:defRPr>
            </a:lvl1pPr>
          </a:lstStyle>
          <a:p>
            <a:r>
              <a:rPr lang="en-US" sz="4488" dirty="0">
                <a:solidFill>
                  <a:schemeClr val="accent3">
                    <a:lumMod val="50000"/>
                  </a:schemeClr>
                </a:solidFill>
              </a:rPr>
              <a:t>Click to edit Master title style</a:t>
            </a:r>
          </a:p>
        </p:txBody>
      </p:sp>
    </p:spTree>
    <p:extLst>
      <p:ext uri="{BB962C8B-B14F-4D97-AF65-F5344CB8AC3E}">
        <p14:creationId xmlns:p14="http://schemas.microsoft.com/office/powerpoint/2010/main" val="827962981"/>
      </p:ext>
    </p:extLst>
  </p:cSld>
  <p:clrMap bg1="lt1" tx1="dk1" bg2="lt2" tx2="dk2" accent1="accent1" accent2="accent2" accent3="accent3" accent4="accent4" accent5="accent5" accent6="accent6" hlink="hlink" folHlink="folHlink"/>
  <p:sldLayoutIdLst>
    <p:sldLayoutId id="2147484344" r:id="rId1"/>
    <p:sldLayoutId id="2147484345" r:id="rId2"/>
    <p:sldLayoutId id="2147484346" r:id="rId3"/>
    <p:sldLayoutId id="2147484347" r:id="rId4"/>
    <p:sldLayoutId id="2147484348" r:id="rId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solidFill>
            <a:schemeClr val="accent4">
              <a:lumMod val="50000"/>
            </a:schemeClr>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rgbClr val="000000"/>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0000"/>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rgbClr val="000000"/>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rgbClr val="000000"/>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8"/>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2219106" y="5937251"/>
            <a:ext cx="188435" cy="382308"/>
          </a:xfrm>
          <a:prstGeom prst="rect">
            <a:avLst/>
          </a:prstGeom>
          <a:noFill/>
        </p:spPr>
        <p:txBody>
          <a:bodyPr wrap="none" rtlCol="0">
            <a:spAutoFit/>
          </a:bodyPr>
          <a:lstStyle/>
          <a:p>
            <a:pPr defTabSz="931607"/>
            <a:endParaRPr lang="en-US" sz="1836" dirty="0">
              <a:solidFill>
                <a:prstClr val="black"/>
              </a:solidFill>
            </a:endParaRPr>
          </a:p>
        </p:txBody>
      </p:sp>
      <p:sp>
        <p:nvSpPr>
          <p:cNvPr id="9" name="Title Placeholder 8"/>
          <p:cNvSpPr>
            <a:spLocks noGrp="1"/>
          </p:cNvSpPr>
          <p:nvPr>
            <p:ph type="title"/>
          </p:nvPr>
        </p:nvSpPr>
        <p:spPr>
          <a:xfrm>
            <a:off x="621824" y="280105"/>
            <a:ext cx="11192828" cy="1165754"/>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21824" y="1632057"/>
            <a:ext cx="11192828" cy="46160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627168"/>
            <a:ext cx="12436475" cy="37668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836">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513" y="6661782"/>
            <a:ext cx="5653273" cy="318286"/>
          </a:xfrm>
          <a:prstGeom prst="rect">
            <a:avLst/>
          </a:prstGeom>
          <a:noFill/>
          <a:ln>
            <a:noFill/>
          </a:ln>
        </p:spPr>
        <p:txBody>
          <a:bodyPr wrap="square" lIns="93260" tIns="46630" rIns="93260" bIns="4663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Introduction to the Query Store</a:t>
            </a:r>
          </a:p>
        </p:txBody>
      </p:sp>
    </p:spTree>
    <p:extLst>
      <p:ext uri="{BB962C8B-B14F-4D97-AF65-F5344CB8AC3E}">
        <p14:creationId xmlns:p14="http://schemas.microsoft.com/office/powerpoint/2010/main" val="3662636116"/>
      </p:ext>
    </p:extLst>
  </p:cSld>
  <p:clrMap bg1="lt1" tx1="dk1" bg2="lt2" tx2="dk2" accent1="accent1" accent2="accent2" accent3="accent3" accent4="accent4" accent5="accent5" accent6="accent6" hlink="hlink" folHlink="folHlink"/>
  <p:sldLayoutIdLst>
    <p:sldLayoutId id="2147484350" r:id="rId1"/>
    <p:sldLayoutId id="2147484351" r:id="rId2"/>
    <p:sldLayoutId id="2147484352" r:id="rId3"/>
    <p:sldLayoutId id="2147484353" r:id="rId4"/>
    <p:sldLayoutId id="2147484354" r:id="rId5"/>
    <p:sldLayoutId id="2147484355" r:id="rId6"/>
  </p:sldLayoutIdLst>
  <p:txStyles>
    <p:titleStyle>
      <a:lvl1pPr marL="0" marR="0" indent="0" algn="l" defTabSz="466209" rtl="0" eaLnBrk="1" fontAlgn="auto" latinLnBrk="0" hangingPunct="1">
        <a:lnSpc>
          <a:spcPts val="3570"/>
        </a:lnSpc>
        <a:spcBef>
          <a:spcPct val="0"/>
        </a:spcBef>
        <a:spcAft>
          <a:spcPts val="0"/>
        </a:spcAft>
        <a:buClrTx/>
        <a:buSzTx/>
        <a:buFontTx/>
        <a:buNone/>
        <a:tabLst/>
        <a:defRPr kumimoji="0" lang="en-US" sz="3672"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32418" rtl="0" eaLnBrk="1" latinLnBrk="0" hangingPunct="1">
        <a:spcBef>
          <a:spcPct val="20000"/>
        </a:spcBef>
        <a:buFont typeface="Arial"/>
        <a:buNone/>
        <a:defRPr sz="2448" kern="1200">
          <a:solidFill>
            <a:srgbClr val="404040"/>
          </a:solidFill>
          <a:latin typeface="+mn-lt"/>
          <a:ea typeface="+mn-ea"/>
          <a:cs typeface="+mn-cs"/>
        </a:defRPr>
      </a:lvl1pPr>
      <a:lvl2pPr marL="349656" indent="-349656" algn="l" defTabSz="932418" rtl="0" eaLnBrk="1" latinLnBrk="0" hangingPunct="1">
        <a:spcBef>
          <a:spcPct val="20000"/>
        </a:spcBef>
        <a:buClr>
          <a:schemeClr val="accent4"/>
        </a:buClr>
        <a:buFont typeface="Arial"/>
        <a:buChar char="•"/>
        <a:defRPr lang="en-US" sz="2040" kern="1200" dirty="0" smtClean="0">
          <a:solidFill>
            <a:srgbClr val="404040"/>
          </a:solidFill>
          <a:latin typeface="Century Gothic"/>
          <a:ea typeface="+mn-ea"/>
          <a:cs typeface="+mn-cs"/>
        </a:defRPr>
      </a:lvl2pPr>
      <a:lvl3pPr marL="650750" indent="-349656" algn="l" defTabSz="932418" rtl="0" eaLnBrk="1" latinLnBrk="0" hangingPunct="1">
        <a:spcBef>
          <a:spcPct val="20000"/>
        </a:spcBef>
        <a:buClr>
          <a:schemeClr val="accent4"/>
        </a:buClr>
        <a:buFont typeface="Arial"/>
        <a:buChar char="•"/>
        <a:defRPr lang="en-US" sz="1836" kern="1200" dirty="0" smtClean="0">
          <a:solidFill>
            <a:srgbClr val="404040"/>
          </a:solidFill>
          <a:latin typeface="Century Gothic"/>
          <a:ea typeface="+mn-ea"/>
          <a:cs typeface="+mn-cs"/>
        </a:defRPr>
      </a:lvl3pPr>
      <a:lvl4pPr marL="940512" indent="-349656" algn="l" defTabSz="932418" rtl="0" eaLnBrk="1" latinLnBrk="0" hangingPunct="1">
        <a:spcBef>
          <a:spcPct val="20000"/>
        </a:spcBef>
        <a:buClr>
          <a:schemeClr val="accent4"/>
        </a:buClr>
        <a:buFont typeface="Arial"/>
        <a:buChar char="•"/>
        <a:defRPr lang="en-US" sz="1836" kern="1200" dirty="0" smtClean="0">
          <a:solidFill>
            <a:srgbClr val="404040"/>
          </a:solidFill>
          <a:latin typeface="Century Gothic"/>
          <a:ea typeface="+mn-ea"/>
          <a:cs typeface="+mn-cs"/>
        </a:defRPr>
      </a:lvl4pPr>
      <a:lvl5pPr marL="1212467" indent="-349656" algn="l" defTabSz="932418" rtl="0" eaLnBrk="1" latinLnBrk="0" hangingPunct="1">
        <a:spcBef>
          <a:spcPct val="20000"/>
        </a:spcBef>
        <a:buClr>
          <a:schemeClr val="accent4"/>
        </a:buClr>
        <a:buFont typeface="Arial"/>
        <a:buChar char="•"/>
        <a:defRPr lang="en-US" sz="1836" kern="1200" dirty="0">
          <a:solidFill>
            <a:srgbClr val="404040"/>
          </a:solidFill>
          <a:latin typeface="Century Gothic"/>
          <a:ea typeface="+mn-ea"/>
          <a:cs typeface="+mn-cs"/>
        </a:defRPr>
      </a:lvl5pPr>
      <a:lvl6pPr marL="2564149"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357"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565"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2774" indent="-233104" algn="l" defTabSz="932418"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10.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notesSlide" Target="../notesSlides/notesSlide6.xml"/><Relationship Id="rId7" Type="http://schemas.openxmlformats.org/officeDocument/2006/relationships/diagramColors" Target="../diagrams/colors9.xml"/><Relationship Id="rId2" Type="http://schemas.openxmlformats.org/officeDocument/2006/relationships/slideLayout" Target="../slideLayouts/slideLayout31.xml"/><Relationship Id="rId1" Type="http://schemas.openxmlformats.org/officeDocument/2006/relationships/tags" Target="../tags/tag3.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7.xml"/><Relationship Id="rId1" Type="http://schemas.openxmlformats.org/officeDocument/2006/relationships/slideLayout" Target="../slideLayouts/slideLayout41.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8.xml"/><Relationship Id="rId1" Type="http://schemas.openxmlformats.org/officeDocument/2006/relationships/slideLayout" Target="../slideLayouts/slideLayout36.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0.xml"/><Relationship Id="rId1" Type="http://schemas.openxmlformats.org/officeDocument/2006/relationships/slideLayout" Target="../slideLayouts/slideLayout3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1.xml"/><Relationship Id="rId1" Type="http://schemas.openxmlformats.org/officeDocument/2006/relationships/slideLayout" Target="../slideLayouts/slideLayout42.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99.xml"/><Relationship Id="rId6" Type="http://schemas.openxmlformats.org/officeDocument/2006/relationships/image" Target="../media/image16.jpg"/><Relationship Id="rId5" Type="http://schemas.openxmlformats.org/officeDocument/2006/relationships/image" Target="../media/image15.png"/><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18.xml"/><Relationship Id="rId1" Type="http://schemas.openxmlformats.org/officeDocument/2006/relationships/slideLayout" Target="../slideLayouts/slideLayout39.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19.xml"/><Relationship Id="rId1" Type="http://schemas.openxmlformats.org/officeDocument/2006/relationships/slideLayout" Target="../slideLayouts/slideLayout38.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20.xml"/><Relationship Id="rId1" Type="http://schemas.openxmlformats.org/officeDocument/2006/relationships/slideLayout" Target="../slideLayouts/slideLayout38.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21.xml"/><Relationship Id="rId1" Type="http://schemas.openxmlformats.org/officeDocument/2006/relationships/slideLayout" Target="../slideLayouts/slideLayout40.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22.xml"/><Relationship Id="rId1" Type="http://schemas.openxmlformats.org/officeDocument/2006/relationships/slideLayout" Target="../slideLayouts/slideLayout38.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24.xml"/><Relationship Id="rId1" Type="http://schemas.openxmlformats.org/officeDocument/2006/relationships/slideLayout" Target="../slideLayouts/slideLayout43.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xml"/><Relationship Id="rId1" Type="http://schemas.openxmlformats.org/officeDocument/2006/relationships/slideLayout" Target="../slideLayouts/slideLayout3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3.xml"/><Relationship Id="rId1" Type="http://schemas.openxmlformats.org/officeDocument/2006/relationships/slideLayout" Target="../slideLayouts/slideLayout30.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4.xml"/><Relationship Id="rId1" Type="http://schemas.openxmlformats.org/officeDocument/2006/relationships/slideLayout" Target="../slideLayouts/slideLayout3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slideLayout" Target="../slideLayouts/slideLayout29.xml"/><Relationship Id="rId7" Type="http://schemas.openxmlformats.org/officeDocument/2006/relationships/diagramQuickStyle" Target="../diagrams/quickStyle8.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diagramLayout" Target="../diagrams/layout8.xml"/><Relationship Id="rId5" Type="http://schemas.openxmlformats.org/officeDocument/2006/relationships/diagramData" Target="../diagrams/data8.xml"/><Relationship Id="rId10" Type="http://schemas.openxmlformats.org/officeDocument/2006/relationships/image" Target="../media/image23.png"/><Relationship Id="rId4" Type="http://schemas.openxmlformats.org/officeDocument/2006/relationships/notesSlide" Target="../notesSlides/notesSlide5.xml"/><Relationship Id="rId9" Type="http://schemas.microsoft.com/office/2007/relationships/diagramDrawing" Target="../diagrams/drawin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2ED843-5A1B-4DAC-9648-7313D2F0EF97}"/>
              </a:ext>
            </a:extLst>
          </p:cNvPr>
          <p:cNvSpPr>
            <a:spLocks noGrp="1"/>
          </p:cNvSpPr>
          <p:nvPr>
            <p:ph type="title"/>
          </p:nvPr>
        </p:nvSpPr>
        <p:spPr>
          <a:xfrm>
            <a:off x="349256" y="3942603"/>
            <a:ext cx="6401480" cy="1828800"/>
          </a:xfrm>
        </p:spPr>
        <p:txBody>
          <a:bodyPr/>
          <a:lstStyle/>
          <a:p>
            <a:pPr>
              <a:lnSpc>
                <a:spcPct val="100000"/>
              </a:lnSpc>
              <a:spcBef>
                <a:spcPts val="600"/>
              </a:spcBef>
              <a:spcAft>
                <a:spcPts val="600"/>
              </a:spcAft>
            </a:pPr>
            <a:r>
              <a:rPr lang="en-US" dirty="0"/>
              <a:t>Always Encrypted</a:t>
            </a:r>
            <a:br>
              <a:rPr lang="en-US" dirty="0"/>
            </a:br>
            <a:br>
              <a:rPr lang="en-US" dirty="0"/>
            </a:br>
            <a:r>
              <a:rPr lang="en-US" dirty="0"/>
              <a:t>John Deardurff</a:t>
            </a:r>
            <a:br>
              <a:rPr lang="en-US" dirty="0"/>
            </a:br>
            <a:br>
              <a:rPr lang="en-US" dirty="0"/>
            </a:br>
            <a:endParaRPr lang="en-US" dirty="0"/>
          </a:p>
        </p:txBody>
      </p:sp>
    </p:spTree>
    <p:extLst>
      <p:ext uri="{BB962C8B-B14F-4D97-AF65-F5344CB8AC3E}">
        <p14:creationId xmlns:p14="http://schemas.microsoft.com/office/powerpoint/2010/main" val="39521710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Diagram 33">
            <a:extLst>
              <a:ext uri="{FF2B5EF4-FFF2-40B4-BE49-F238E27FC236}">
                <a16:creationId xmlns:a16="http://schemas.microsoft.com/office/drawing/2014/main" id="{3C0FDA16-CE45-497F-A085-377DD192A04D}"/>
              </a:ext>
            </a:extLst>
          </p:cNvPr>
          <p:cNvGraphicFramePr/>
          <p:nvPr>
            <p:extLst>
              <p:ext uri="{D42A27DB-BD31-4B8C-83A1-F6EECF244321}">
                <p14:modId xmlns:p14="http://schemas.microsoft.com/office/powerpoint/2010/main" val="4094716338"/>
              </p:ext>
            </p:extLst>
          </p:nvPr>
        </p:nvGraphicFramePr>
        <p:xfrm>
          <a:off x="669570" y="1394464"/>
          <a:ext cx="11097332" cy="129249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itle 1"/>
          <p:cNvSpPr>
            <a:spLocks noGrp="1"/>
          </p:cNvSpPr>
          <p:nvPr>
            <p:ph type="title"/>
          </p:nvPr>
        </p:nvSpPr>
        <p:spPr/>
        <p:txBody>
          <a:bodyPr/>
          <a:lstStyle/>
          <a:p>
            <a:r>
              <a:rPr lang="en-US" dirty="0">
                <a:solidFill>
                  <a:schemeClr val="accent4"/>
                </a:solidFill>
              </a:rPr>
              <a:t>How does Always Encrypted work?</a:t>
            </a:r>
            <a:endParaRPr lang="en-US" sz="3999" dirty="0">
              <a:solidFill>
                <a:schemeClr val="accent4"/>
              </a:solidFill>
            </a:endParaRPr>
          </a:p>
        </p:txBody>
      </p:sp>
      <p:sp>
        <p:nvSpPr>
          <p:cNvPr id="4" name="Text Placeholder 6">
            <a:extLst>
              <a:ext uri="{FF2B5EF4-FFF2-40B4-BE49-F238E27FC236}">
                <a16:creationId xmlns:a16="http://schemas.microsoft.com/office/drawing/2014/main" id="{7A86A046-11FA-4CE3-9DF4-42534B701C1C}"/>
              </a:ext>
            </a:extLst>
          </p:cNvPr>
          <p:cNvSpPr txBox="1">
            <a:spLocks/>
          </p:cNvSpPr>
          <p:nvPr/>
        </p:nvSpPr>
        <p:spPr>
          <a:xfrm>
            <a:off x="669570" y="2754856"/>
            <a:ext cx="11097332" cy="3638569"/>
          </a:xfrm>
          <a:prstGeom prst="rect">
            <a:avLst/>
          </a:prstGeom>
          <a:solidFill>
            <a:schemeClr val="bg1">
              <a:lumMod val="95000"/>
            </a:schemeClr>
          </a:solidFill>
          <a:ln w="63500" cap="sq">
            <a:noFill/>
          </a:ln>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91">
              <a:buNone/>
            </a:pPr>
            <a:endParaRPr lang="en-US" sz="3920" dirty="0"/>
          </a:p>
        </p:txBody>
      </p:sp>
      <p:sp>
        <p:nvSpPr>
          <p:cNvPr id="8" name="Rectangle 7">
            <a:extLst>
              <a:ext uri="{FF2B5EF4-FFF2-40B4-BE49-F238E27FC236}">
                <a16:creationId xmlns:a16="http://schemas.microsoft.com/office/drawing/2014/main" id="{FED24893-34AD-424F-8AF9-212A53047DE7}"/>
              </a:ext>
            </a:extLst>
          </p:cNvPr>
          <p:cNvSpPr/>
          <p:nvPr/>
        </p:nvSpPr>
        <p:spPr>
          <a:xfrm>
            <a:off x="677059" y="3074170"/>
            <a:ext cx="4410593" cy="720197"/>
          </a:xfrm>
          <a:prstGeom prst="rect">
            <a:avLst/>
          </a:prstGeom>
          <a:ln>
            <a:noFill/>
          </a:ln>
        </p:spPr>
        <p:txBody>
          <a:bodyPr wrap="square">
            <a:spAutoFit/>
          </a:bodyPr>
          <a:lstStyle/>
          <a:p>
            <a:pPr defTabSz="896214"/>
            <a:r>
              <a:rPr lang="en-US" sz="2040" kern="0" dirty="0">
                <a:latin typeface="Consolas" panose="020B0609020204030204" pitchFamily="49" charset="0"/>
              </a:rPr>
              <a:t>SELECT Name FROM Customers WHERE SSN = "111-22-3333"</a:t>
            </a:r>
          </a:p>
        </p:txBody>
      </p:sp>
      <p:cxnSp>
        <p:nvCxnSpPr>
          <p:cNvPr id="9" name="Straight Arrow Connector 8">
            <a:extLst>
              <a:ext uri="{FF2B5EF4-FFF2-40B4-BE49-F238E27FC236}">
                <a16:creationId xmlns:a16="http://schemas.microsoft.com/office/drawing/2014/main" id="{7390016A-7D86-4E24-ACBA-58404CED4C65}"/>
              </a:ext>
            </a:extLst>
          </p:cNvPr>
          <p:cNvCxnSpPr/>
          <p:nvPr/>
        </p:nvCxnSpPr>
        <p:spPr>
          <a:xfrm>
            <a:off x="4881675" y="3595453"/>
            <a:ext cx="390849" cy="0"/>
          </a:xfrm>
          <a:prstGeom prst="straightConnector1">
            <a:avLst/>
          </a:prstGeom>
          <a:ln w="762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7B37AD38-188E-44FD-BC70-F16EEC983A89}"/>
              </a:ext>
            </a:extLst>
          </p:cNvPr>
          <p:cNvSpPr/>
          <p:nvPr/>
        </p:nvSpPr>
        <p:spPr>
          <a:xfrm>
            <a:off x="5344199" y="3074169"/>
            <a:ext cx="1177242" cy="2977566"/>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4"/>
            <a:endParaRPr lang="en-US" kern="0" dirty="0">
              <a:solidFill>
                <a:schemeClr val="tx1">
                  <a:lumMod val="50000"/>
                </a:schemeClr>
              </a:solidFill>
              <a:latin typeface="Segoe UI Light" panose="020B0502040204020203" pitchFamily="34" charset="0"/>
              <a:cs typeface="Segoe UI Light" panose="020B0502040204020203" pitchFamily="34" charset="0"/>
            </a:endParaRPr>
          </a:p>
          <a:p>
            <a:pPr algn="ctr" defTabSz="896214"/>
            <a:r>
              <a:rPr lang="en-US" sz="1836" b="1" kern="0" dirty="0">
                <a:latin typeface="Segoe UI Light" panose="020B0502040204020203" pitchFamily="34" charset="0"/>
                <a:cs typeface="Segoe UI Light" panose="020B0502040204020203" pitchFamily="34" charset="0"/>
              </a:rPr>
              <a:t>ADO.NET</a:t>
            </a:r>
          </a:p>
        </p:txBody>
      </p:sp>
      <p:cxnSp>
        <p:nvCxnSpPr>
          <p:cNvPr id="11" name="Straight Arrow Connector 10">
            <a:extLst>
              <a:ext uri="{FF2B5EF4-FFF2-40B4-BE49-F238E27FC236}">
                <a16:creationId xmlns:a16="http://schemas.microsoft.com/office/drawing/2014/main" id="{679DFCA2-1AE0-40C9-B53A-373F483D88CE}"/>
              </a:ext>
            </a:extLst>
          </p:cNvPr>
          <p:cNvCxnSpPr/>
          <p:nvPr/>
        </p:nvCxnSpPr>
        <p:spPr>
          <a:xfrm>
            <a:off x="6788259" y="3595453"/>
            <a:ext cx="390849" cy="0"/>
          </a:xfrm>
          <a:prstGeom prst="straightConnector1">
            <a:avLst/>
          </a:prstGeom>
          <a:ln w="762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BEBE725C-24D0-4988-8339-32C7F09025FE}"/>
              </a:ext>
            </a:extLst>
          </p:cNvPr>
          <p:cNvGrpSpPr/>
          <p:nvPr/>
        </p:nvGrpSpPr>
        <p:grpSpPr>
          <a:xfrm>
            <a:off x="7338060" y="2989852"/>
            <a:ext cx="4513116" cy="1136331"/>
            <a:chOff x="7300106" y="3285549"/>
            <a:chExt cx="5828454" cy="810917"/>
          </a:xfrm>
        </p:grpSpPr>
        <p:sp>
          <p:nvSpPr>
            <p:cNvPr id="13" name="Rectangle 12">
              <a:extLst>
                <a:ext uri="{FF2B5EF4-FFF2-40B4-BE49-F238E27FC236}">
                  <a16:creationId xmlns:a16="http://schemas.microsoft.com/office/drawing/2014/main" id="{3FC31930-DA35-4902-B7B1-0422CA832E7E}"/>
                </a:ext>
              </a:extLst>
            </p:cNvPr>
            <p:cNvSpPr/>
            <p:nvPr/>
          </p:nvSpPr>
          <p:spPr>
            <a:xfrm>
              <a:off x="7300106" y="3285549"/>
              <a:ext cx="5828454" cy="513952"/>
            </a:xfrm>
            <a:prstGeom prst="rect">
              <a:avLst/>
            </a:prstGeom>
            <a:noFill/>
          </p:spPr>
          <p:txBody>
            <a:bodyPr wrap="square">
              <a:spAutoFit/>
            </a:bodyPr>
            <a:lstStyle/>
            <a:p>
              <a:pPr defTabSz="896214"/>
              <a:r>
                <a:rPr lang="en-US" sz="2040" kern="0" dirty="0">
                  <a:latin typeface="Consolas" panose="020B0609020204030204" pitchFamily="49" charset="0"/>
                </a:rPr>
                <a:t>SELECT Name FROM Customers WHERE SSN = 0x7ff654ae6d</a:t>
              </a:r>
            </a:p>
          </p:txBody>
        </p:sp>
        <p:sp>
          <p:nvSpPr>
            <p:cNvPr id="14" name="TextBox 13">
              <a:extLst>
                <a:ext uri="{FF2B5EF4-FFF2-40B4-BE49-F238E27FC236}">
                  <a16:creationId xmlns:a16="http://schemas.microsoft.com/office/drawing/2014/main" id="{C5C0B2B9-115A-4A40-8E19-A09AB33E894C}"/>
                </a:ext>
              </a:extLst>
            </p:cNvPr>
            <p:cNvSpPr txBox="1"/>
            <p:nvPr/>
          </p:nvSpPr>
          <p:spPr>
            <a:xfrm>
              <a:off x="9867239" y="3711268"/>
              <a:ext cx="2481362" cy="385198"/>
            </a:xfrm>
            <a:prstGeom prst="rect">
              <a:avLst/>
            </a:prstGeom>
            <a:noFill/>
          </p:spPr>
          <p:txBody>
            <a:bodyPr wrap="square" lIns="182828" tIns="146263" rIns="182828" bIns="146263" rtlCol="0">
              <a:spAutoFit/>
            </a:bodyPr>
            <a:lstStyle/>
            <a:p>
              <a:pPr marL="0" lvl="1" defTabSz="896214">
                <a:lnSpc>
                  <a:spcPct val="90000"/>
                </a:lnSpc>
                <a:spcAft>
                  <a:spcPts val="600"/>
                </a:spcAft>
              </a:pPr>
              <a:r>
                <a:rPr lang="en-US" sz="1764" i="1" kern="0" dirty="0">
                  <a:solidFill>
                    <a:schemeClr val="tx1">
                      <a:lumMod val="50000"/>
                    </a:schemeClr>
                  </a:solidFill>
                  <a:latin typeface="+mj-lt"/>
                </a:rPr>
                <a:t>Ciphertext</a:t>
              </a:r>
            </a:p>
          </p:txBody>
        </p:sp>
      </p:grpSp>
      <p:grpSp>
        <p:nvGrpSpPr>
          <p:cNvPr id="3" name="Group 2">
            <a:extLst>
              <a:ext uri="{FF2B5EF4-FFF2-40B4-BE49-F238E27FC236}">
                <a16:creationId xmlns:a16="http://schemas.microsoft.com/office/drawing/2014/main" id="{CB592B45-CD56-4E91-B83B-4A9F0529EED1}"/>
              </a:ext>
            </a:extLst>
          </p:cNvPr>
          <p:cNvGrpSpPr/>
          <p:nvPr/>
        </p:nvGrpSpPr>
        <p:grpSpPr>
          <a:xfrm>
            <a:off x="10548204" y="4004674"/>
            <a:ext cx="1018384" cy="1068317"/>
            <a:chOff x="10548204" y="4004674"/>
            <a:chExt cx="1018384" cy="1068317"/>
          </a:xfrm>
        </p:grpSpPr>
        <p:grpSp>
          <p:nvGrpSpPr>
            <p:cNvPr id="5" name="Group 4">
              <a:extLst>
                <a:ext uri="{FF2B5EF4-FFF2-40B4-BE49-F238E27FC236}">
                  <a16:creationId xmlns:a16="http://schemas.microsoft.com/office/drawing/2014/main" id="{194C49B5-0AB4-4CA3-BBF8-C0DE64291837}"/>
                </a:ext>
              </a:extLst>
            </p:cNvPr>
            <p:cNvGrpSpPr>
              <a:grpSpLocks noChangeAspect="1"/>
            </p:cNvGrpSpPr>
            <p:nvPr/>
          </p:nvGrpSpPr>
          <p:grpSpPr>
            <a:xfrm>
              <a:off x="11006350" y="4345462"/>
              <a:ext cx="560238" cy="727526"/>
              <a:chOff x="7716230" y="2584442"/>
              <a:chExt cx="822843" cy="1068544"/>
            </a:xfrm>
            <a:solidFill>
              <a:schemeClr val="tx1">
                <a:lumMod val="85000"/>
              </a:schemeClr>
            </a:solidFill>
          </p:grpSpPr>
          <p:sp>
            <p:nvSpPr>
              <p:cNvPr id="6" name="Oval 5">
                <a:extLst>
                  <a:ext uri="{FF2B5EF4-FFF2-40B4-BE49-F238E27FC236}">
                    <a16:creationId xmlns:a16="http://schemas.microsoft.com/office/drawing/2014/main" id="{5690B403-A2F8-40E8-AE61-009A581D62CD}"/>
                  </a:ext>
                </a:extLst>
              </p:cNvPr>
              <p:cNvSpPr>
                <a:spLocks noChangeArrowheads="1"/>
              </p:cNvSpPr>
              <p:nvPr/>
            </p:nvSpPr>
            <p:spPr bwMode="auto">
              <a:xfrm>
                <a:off x="7730307" y="2584442"/>
                <a:ext cx="794690" cy="151004"/>
              </a:xfrm>
              <a:prstGeom prst="ellipse">
                <a:avLst/>
              </a:prstGeom>
              <a:grpFill/>
              <a:ln>
                <a:noFill/>
              </a:ln>
            </p:spPr>
            <p:txBody>
              <a:bodyPr vert="horz" wrap="square" lIns="89579" tIns="44789" rIns="89579" bIns="44789" numCol="1" anchor="t" anchorCtr="0" compatLnSpc="1">
                <a:prstTxWarp prst="textNoShape">
                  <a:avLst/>
                </a:prstTxWarp>
              </a:bodyPr>
              <a:lstStyle/>
              <a:p>
                <a:pPr defTabSz="913522">
                  <a:defRPr/>
                </a:pPr>
                <a:endParaRPr lang="en-US" sz="1764" kern="0" dirty="0">
                  <a:solidFill>
                    <a:schemeClr val="bg1"/>
                  </a:solidFill>
                  <a:latin typeface="Segoe UI"/>
                </a:endParaRPr>
              </a:p>
            </p:txBody>
          </p:sp>
          <p:sp>
            <p:nvSpPr>
              <p:cNvPr id="7" name="Freeform 123">
                <a:extLst>
                  <a:ext uri="{FF2B5EF4-FFF2-40B4-BE49-F238E27FC236}">
                    <a16:creationId xmlns:a16="http://schemas.microsoft.com/office/drawing/2014/main" id="{3FF8C9CF-9FE5-431A-AEB7-1D07A016BC9D}"/>
                  </a:ext>
                </a:extLst>
              </p:cNvPr>
              <p:cNvSpPr>
                <a:spLocks noEditPoints="1"/>
              </p:cNvSpPr>
              <p:nvPr/>
            </p:nvSpPr>
            <p:spPr bwMode="auto">
              <a:xfrm>
                <a:off x="7716230" y="2689379"/>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p:spPr>
            <p:txBody>
              <a:bodyPr vert="horz" wrap="square" lIns="89579" tIns="44789" rIns="89579" bIns="44789" numCol="1" anchor="t" anchorCtr="0" compatLnSpc="1">
                <a:prstTxWarp prst="textNoShape">
                  <a:avLst/>
                </a:prstTxWarp>
              </a:bodyPr>
              <a:lstStyle/>
              <a:p>
                <a:pPr defTabSz="913522">
                  <a:defRPr/>
                </a:pPr>
                <a:endParaRPr lang="en-US" sz="1764" kern="0" dirty="0">
                  <a:solidFill>
                    <a:schemeClr val="bg1"/>
                  </a:solidFill>
                  <a:latin typeface="Segoe UI"/>
                </a:endParaRPr>
              </a:p>
            </p:txBody>
          </p:sp>
        </p:grpSp>
        <p:sp>
          <p:nvSpPr>
            <p:cNvPr id="15" name="Freeform 95">
              <a:extLst>
                <a:ext uri="{FF2B5EF4-FFF2-40B4-BE49-F238E27FC236}">
                  <a16:creationId xmlns:a16="http://schemas.microsoft.com/office/drawing/2014/main" id="{F1E02D8B-5C37-4B89-8467-27CEF98AE474}"/>
                </a:ext>
              </a:extLst>
            </p:cNvPr>
            <p:cNvSpPr>
              <a:spLocks noEditPoints="1"/>
            </p:cNvSpPr>
            <p:nvPr/>
          </p:nvSpPr>
          <p:spPr bwMode="black">
            <a:xfrm>
              <a:off x="10548204" y="4004674"/>
              <a:ext cx="529905" cy="106831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13" tIns="44806" rIns="89613" bIns="44806" numCol="1" rtlCol="0" anchor="ctr" anchorCtr="0" compatLnSpc="1">
              <a:prstTxWarp prst="textNoShape">
                <a:avLst/>
              </a:prstTxWarp>
            </a:bodyPr>
            <a:lstStyle/>
            <a:p>
              <a:pPr defTabSz="725868"/>
              <a:endParaRPr lang="en-US" sz="1764" kern="0" spc="-120" dirty="0">
                <a:solidFill>
                  <a:schemeClr val="bg1"/>
                </a:solidFill>
                <a:latin typeface="Segoe Light" pitchFamily="34" charset="0"/>
              </a:endParaRPr>
            </a:p>
          </p:txBody>
        </p:sp>
        <p:sp>
          <p:nvSpPr>
            <p:cNvPr id="17" name="Oval 16">
              <a:extLst>
                <a:ext uri="{FF2B5EF4-FFF2-40B4-BE49-F238E27FC236}">
                  <a16:creationId xmlns:a16="http://schemas.microsoft.com/office/drawing/2014/main" id="{28747189-A534-4119-9DDE-8293A156A377}"/>
                </a:ext>
              </a:extLst>
            </p:cNvPr>
            <p:cNvSpPr/>
            <p:nvPr/>
          </p:nvSpPr>
          <p:spPr bwMode="auto">
            <a:xfrm>
              <a:off x="10939450" y="4703988"/>
              <a:ext cx="220793" cy="33445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336081" indent="-336081" algn="ctr" defTabSz="913926" fontAlgn="base">
                <a:lnSpc>
                  <a:spcPct val="90000"/>
                </a:lnSpc>
                <a:spcBef>
                  <a:spcPct val="0"/>
                </a:spcBef>
                <a:spcAft>
                  <a:spcPct val="0"/>
                </a:spcAft>
                <a:buFont typeface="Wingdings 3" panose="05040102010807070707" pitchFamily="18" charset="2"/>
                <a:buChar char="Æ"/>
              </a:pPr>
              <a:endParaRPr lang="en-US" sz="1960" b="1" kern="0" dirty="0">
                <a:solidFill>
                  <a:schemeClr val="bg1"/>
                </a:solidFill>
                <a:latin typeface="+mj-lt"/>
                <a:ea typeface="Segoe UI" pitchFamily="34" charset="0"/>
                <a:cs typeface="Segoe UI" pitchFamily="34" charset="0"/>
              </a:endParaRPr>
            </a:p>
          </p:txBody>
        </p:sp>
        <p:sp>
          <p:nvSpPr>
            <p:cNvPr id="18" name="Rectangle 74">
              <a:extLst>
                <a:ext uri="{FF2B5EF4-FFF2-40B4-BE49-F238E27FC236}">
                  <a16:creationId xmlns:a16="http://schemas.microsoft.com/office/drawing/2014/main" id="{5ED05B56-6467-4F0C-8509-C365CED9ABA5}"/>
                </a:ext>
              </a:extLst>
            </p:cNvPr>
            <p:cNvSpPr/>
            <p:nvPr>
              <p:custDataLst>
                <p:tags r:id="rId1"/>
              </p:custDataLst>
            </p:nvPr>
          </p:nvSpPr>
          <p:spPr>
            <a:xfrm>
              <a:off x="10779337" y="4416952"/>
              <a:ext cx="510471" cy="656037"/>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C000"/>
            </a:solidFill>
            <a:ln w="6350">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54"/>
              <a:endParaRPr lang="en-US" sz="1764" kern="0" dirty="0">
                <a:solidFill>
                  <a:srgbClr val="FFFFFF"/>
                </a:solidFill>
              </a:endParaRPr>
            </a:p>
          </p:txBody>
        </p:sp>
      </p:grpSp>
      <p:graphicFrame>
        <p:nvGraphicFramePr>
          <p:cNvPr id="19" name="Table 18">
            <a:extLst>
              <a:ext uri="{FF2B5EF4-FFF2-40B4-BE49-F238E27FC236}">
                <a16:creationId xmlns:a16="http://schemas.microsoft.com/office/drawing/2014/main" id="{78D951B0-1D26-4457-89C3-50B0F3AB64B0}"/>
              </a:ext>
            </a:extLst>
          </p:cNvPr>
          <p:cNvGraphicFramePr>
            <a:graphicFrameLocks noGrp="1"/>
          </p:cNvGraphicFramePr>
          <p:nvPr/>
        </p:nvGraphicFramePr>
        <p:xfrm>
          <a:off x="6844384" y="5371531"/>
          <a:ext cx="5077568" cy="680212"/>
        </p:xfrm>
        <a:graphic>
          <a:graphicData uri="http://schemas.openxmlformats.org/drawingml/2006/table">
            <a:tbl>
              <a:tblPr firstRow="1">
                <a:tableStyleId>{1FECB4D8-DB02-4DC6-A0A2-4F2EBAE1DC90}</a:tableStyleId>
              </a:tblPr>
              <a:tblGrid>
                <a:gridCol w="1735718">
                  <a:extLst>
                    <a:ext uri="{9D8B030D-6E8A-4147-A177-3AD203B41FA5}">
                      <a16:colId xmlns:a16="http://schemas.microsoft.com/office/drawing/2014/main" val="20000"/>
                    </a:ext>
                  </a:extLst>
                </a:gridCol>
                <a:gridCol w="1523783">
                  <a:extLst>
                    <a:ext uri="{9D8B030D-6E8A-4147-A177-3AD203B41FA5}">
                      <a16:colId xmlns:a16="http://schemas.microsoft.com/office/drawing/2014/main" val="20001"/>
                    </a:ext>
                  </a:extLst>
                </a:gridCol>
                <a:gridCol w="1818067">
                  <a:extLst>
                    <a:ext uri="{9D8B030D-6E8A-4147-A177-3AD203B41FA5}">
                      <a16:colId xmlns:a16="http://schemas.microsoft.com/office/drawing/2014/main" val="20002"/>
                    </a:ext>
                  </a:extLst>
                </a:gridCol>
              </a:tblGrid>
              <a:tr h="340106">
                <a:tc>
                  <a:txBody>
                    <a:bodyPr/>
                    <a:lstStyle/>
                    <a:p>
                      <a:r>
                        <a:rPr lang="en-US" sz="1600" dirty="0"/>
                        <a:t>Name</a:t>
                      </a:r>
                      <a:endParaRPr lang="en-US" sz="1600" b="0" dirty="0">
                        <a:solidFill>
                          <a:schemeClr val="bg1"/>
                        </a:solidFill>
                        <a:latin typeface="Segoe UI Semibold" panose="020B0702040204020203" pitchFamily="34" charset="0"/>
                        <a:cs typeface="Segoe UI Semibold" panose="020B0702040204020203" pitchFamily="34" charset="0"/>
                      </a:endParaRPr>
                    </a:p>
                  </a:txBody>
                  <a:tcPr marL="91414" marR="91414" marT="45706" marB="457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SSN</a:t>
                      </a:r>
                      <a:endParaRPr lang="en-US" sz="1600" b="0" dirty="0">
                        <a:solidFill>
                          <a:schemeClr val="bg1"/>
                        </a:solidFill>
                        <a:latin typeface="Segoe UI Semibold" panose="020B0702040204020203" pitchFamily="34" charset="0"/>
                        <a:cs typeface="Segoe UI Semibold" panose="020B0702040204020203" pitchFamily="34" charset="0"/>
                      </a:endParaRPr>
                    </a:p>
                  </a:txBody>
                  <a:tcPr marL="91414" marR="91414" marT="45706" marB="457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Country/Region</a:t>
                      </a:r>
                      <a:endParaRPr lang="en-US" sz="1600" b="0" dirty="0">
                        <a:solidFill>
                          <a:schemeClr val="bg1"/>
                        </a:solidFill>
                        <a:latin typeface="Segoe UI Semibold" panose="020B0702040204020203" pitchFamily="34" charset="0"/>
                        <a:cs typeface="Segoe UI Semibold" panose="020B0702040204020203" pitchFamily="34" charset="0"/>
                      </a:endParaRPr>
                    </a:p>
                  </a:txBody>
                  <a:tcPr marL="91414" marR="91414" marT="45706" marB="457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40106">
                <a:tc>
                  <a:txBody>
                    <a:bodyPr/>
                    <a:lstStyle/>
                    <a:p>
                      <a:r>
                        <a:rPr lang="en-US" sz="1600" dirty="0"/>
                        <a:t>0x19ca706fbd9a</a:t>
                      </a:r>
                      <a:endParaRPr lang="en-US" sz="1600" dirty="0">
                        <a:solidFill>
                          <a:schemeClr val="bg1"/>
                        </a:solidFill>
                        <a:latin typeface="+mj-lt"/>
                      </a:endParaRPr>
                    </a:p>
                  </a:txBody>
                  <a:tcPr marL="91414" marR="91414" marT="45706" marB="457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0x7ff654ae6d</a:t>
                      </a:r>
                      <a:endParaRPr lang="en-US" sz="1600" dirty="0">
                        <a:solidFill>
                          <a:schemeClr val="bg1"/>
                        </a:solidFill>
                        <a:latin typeface="+mj-lt"/>
                      </a:endParaRPr>
                    </a:p>
                  </a:txBody>
                  <a:tcPr marL="91414" marR="91414" marT="45706" marB="457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USA</a:t>
                      </a:r>
                      <a:endParaRPr lang="en-US" sz="1600" dirty="0">
                        <a:solidFill>
                          <a:schemeClr val="bg1"/>
                        </a:solidFill>
                        <a:latin typeface="+mj-lt"/>
                      </a:endParaRPr>
                    </a:p>
                  </a:txBody>
                  <a:tcPr marL="91414" marR="91414" marT="45706" marB="457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graphicFrame>
        <p:nvGraphicFramePr>
          <p:cNvPr id="20" name="Table 19">
            <a:extLst>
              <a:ext uri="{FF2B5EF4-FFF2-40B4-BE49-F238E27FC236}">
                <a16:creationId xmlns:a16="http://schemas.microsoft.com/office/drawing/2014/main" id="{592BF639-27F4-4049-A1DA-15EF2BA44F34}"/>
              </a:ext>
            </a:extLst>
          </p:cNvPr>
          <p:cNvGraphicFramePr>
            <a:graphicFrameLocks noGrp="1"/>
          </p:cNvGraphicFramePr>
          <p:nvPr/>
        </p:nvGraphicFramePr>
        <p:xfrm>
          <a:off x="7443305" y="4404387"/>
          <a:ext cx="2743474" cy="680212"/>
        </p:xfrm>
        <a:graphic>
          <a:graphicData uri="http://schemas.openxmlformats.org/drawingml/2006/table">
            <a:tbl>
              <a:tblPr firstRow="1">
                <a:tableStyleId>{1FECB4D8-DB02-4DC6-A0A2-4F2EBAE1DC90}</a:tableStyleId>
              </a:tblPr>
              <a:tblGrid>
                <a:gridCol w="2743474">
                  <a:extLst>
                    <a:ext uri="{9D8B030D-6E8A-4147-A177-3AD203B41FA5}">
                      <a16:colId xmlns:a16="http://schemas.microsoft.com/office/drawing/2014/main" val="20000"/>
                    </a:ext>
                  </a:extLst>
                </a:gridCol>
              </a:tblGrid>
              <a:tr h="340106">
                <a:tc>
                  <a:txBody>
                    <a:bodyPr/>
                    <a:lstStyle/>
                    <a:p>
                      <a:r>
                        <a:rPr lang="en-US" sz="1600" dirty="0"/>
                        <a:t>Name</a:t>
                      </a:r>
                      <a:endParaRPr lang="en-US" sz="1600" b="0" dirty="0">
                        <a:solidFill>
                          <a:schemeClr val="bg1"/>
                        </a:solidFill>
                        <a:latin typeface="Segoe UI Semibold" panose="020B0702040204020203" pitchFamily="34" charset="0"/>
                        <a:cs typeface="Segoe UI Semibold" panose="020B0702040204020203" pitchFamily="34" charset="0"/>
                      </a:endParaRPr>
                    </a:p>
                  </a:txBody>
                  <a:tcPr marL="91414" marR="91414" marT="45706" marB="457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40106">
                <a:tc>
                  <a:txBody>
                    <a:bodyPr/>
                    <a:lstStyle/>
                    <a:p>
                      <a:r>
                        <a:rPr lang="en-US" sz="1600" dirty="0"/>
                        <a:t>0x19ca706fbd9a</a:t>
                      </a:r>
                      <a:endParaRPr lang="en-US" sz="1600" dirty="0">
                        <a:solidFill>
                          <a:schemeClr val="bg1"/>
                        </a:solidFill>
                        <a:latin typeface="+mj-lt"/>
                      </a:endParaRPr>
                    </a:p>
                  </a:txBody>
                  <a:tcPr marL="91414" marR="91414" marT="45706" marB="457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cxnSp>
        <p:nvCxnSpPr>
          <p:cNvPr id="21" name="Straight Arrow Connector 20">
            <a:extLst>
              <a:ext uri="{FF2B5EF4-FFF2-40B4-BE49-F238E27FC236}">
                <a16:creationId xmlns:a16="http://schemas.microsoft.com/office/drawing/2014/main" id="{C4B55B66-AFD0-4E70-8B0D-B15134A9CBCD}"/>
              </a:ext>
            </a:extLst>
          </p:cNvPr>
          <p:cNvCxnSpPr/>
          <p:nvPr/>
        </p:nvCxnSpPr>
        <p:spPr>
          <a:xfrm flipH="1" flipV="1">
            <a:off x="6804728" y="4692207"/>
            <a:ext cx="390849" cy="14643"/>
          </a:xfrm>
          <a:prstGeom prst="straightConnector1">
            <a:avLst/>
          </a:prstGeom>
          <a:ln w="762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7D4FCEBF-7F1E-41A1-B0C2-71D60E53993E}"/>
              </a:ext>
            </a:extLst>
          </p:cNvPr>
          <p:cNvSpPr/>
          <p:nvPr/>
        </p:nvSpPr>
        <p:spPr bwMode="auto">
          <a:xfrm>
            <a:off x="7443303" y="3983105"/>
            <a:ext cx="1921380" cy="41781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b" anchorCtr="0" compatLnSpc="1">
            <a:prstTxWarp prst="textNoShape">
              <a:avLst/>
            </a:prstTxWarp>
          </a:bodyPr>
          <a:lstStyle/>
          <a:p>
            <a:pPr defTabSz="932114" fontAlgn="base">
              <a:spcBef>
                <a:spcPct val="0"/>
              </a:spcBef>
              <a:spcAft>
                <a:spcPct val="0"/>
              </a:spcAft>
            </a:pPr>
            <a:r>
              <a:rPr lang="en-US" kern="0" dirty="0">
                <a:solidFill>
                  <a:schemeClr val="tx1">
                    <a:lumMod val="50000"/>
                  </a:schemeClr>
                </a:solidFill>
                <a:latin typeface="+mj-lt"/>
                <a:cs typeface="Segoe UI Light" panose="020B0502040204020203" pitchFamily="34" charset="0"/>
              </a:rPr>
              <a:t>Result set</a:t>
            </a:r>
          </a:p>
        </p:txBody>
      </p:sp>
      <p:cxnSp>
        <p:nvCxnSpPr>
          <p:cNvPr id="23" name="Straight Arrow Connector 22">
            <a:extLst>
              <a:ext uri="{FF2B5EF4-FFF2-40B4-BE49-F238E27FC236}">
                <a16:creationId xmlns:a16="http://schemas.microsoft.com/office/drawing/2014/main" id="{02F6D6FD-98D9-4568-A7A7-9C1BE2CB239D}"/>
              </a:ext>
            </a:extLst>
          </p:cNvPr>
          <p:cNvCxnSpPr/>
          <p:nvPr/>
        </p:nvCxnSpPr>
        <p:spPr>
          <a:xfrm flipH="1" flipV="1">
            <a:off x="4819332" y="4692208"/>
            <a:ext cx="390849" cy="14643"/>
          </a:xfrm>
          <a:prstGeom prst="straightConnector1">
            <a:avLst/>
          </a:prstGeom>
          <a:ln w="762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466228D4-849B-403B-8E1B-43C59F1F7AAD}"/>
              </a:ext>
            </a:extLst>
          </p:cNvPr>
          <p:cNvSpPr/>
          <p:nvPr/>
        </p:nvSpPr>
        <p:spPr bwMode="auto">
          <a:xfrm>
            <a:off x="772378" y="4219672"/>
            <a:ext cx="2145649" cy="4673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b" anchorCtr="0" compatLnSpc="1">
            <a:prstTxWarp prst="textNoShape">
              <a:avLst/>
            </a:prstTxWarp>
          </a:bodyPr>
          <a:lstStyle/>
          <a:p>
            <a:pPr defTabSz="932114" fontAlgn="base">
              <a:spcBef>
                <a:spcPct val="0"/>
              </a:spcBef>
              <a:spcAft>
                <a:spcPct val="0"/>
              </a:spcAft>
            </a:pPr>
            <a:r>
              <a:rPr lang="en-US" kern="0" dirty="0">
                <a:solidFill>
                  <a:schemeClr val="tx1">
                    <a:lumMod val="50000"/>
                  </a:schemeClr>
                </a:solidFill>
                <a:latin typeface="+mj-lt"/>
                <a:cs typeface="Segoe UI Light" panose="020B0502040204020203" pitchFamily="34" charset="0"/>
              </a:rPr>
              <a:t>Result set</a:t>
            </a:r>
          </a:p>
        </p:txBody>
      </p:sp>
      <p:graphicFrame>
        <p:nvGraphicFramePr>
          <p:cNvPr id="25" name="Table 24">
            <a:extLst>
              <a:ext uri="{FF2B5EF4-FFF2-40B4-BE49-F238E27FC236}">
                <a16:creationId xmlns:a16="http://schemas.microsoft.com/office/drawing/2014/main" id="{43E97DD5-C506-453F-81C9-708D1E9BC35F}"/>
              </a:ext>
            </a:extLst>
          </p:cNvPr>
          <p:cNvGraphicFramePr>
            <a:graphicFrameLocks noGrp="1"/>
          </p:cNvGraphicFramePr>
          <p:nvPr/>
        </p:nvGraphicFramePr>
        <p:xfrm>
          <a:off x="772379" y="4707900"/>
          <a:ext cx="3749725" cy="680212"/>
        </p:xfrm>
        <a:graphic>
          <a:graphicData uri="http://schemas.openxmlformats.org/drawingml/2006/table">
            <a:tbl>
              <a:tblPr firstRow="1">
                <a:tableStyleId>{1FECB4D8-DB02-4DC6-A0A2-4F2EBAE1DC90}</a:tableStyleId>
              </a:tblPr>
              <a:tblGrid>
                <a:gridCol w="3749725">
                  <a:extLst>
                    <a:ext uri="{9D8B030D-6E8A-4147-A177-3AD203B41FA5}">
                      <a16:colId xmlns:a16="http://schemas.microsoft.com/office/drawing/2014/main" val="20000"/>
                    </a:ext>
                  </a:extLst>
                </a:gridCol>
              </a:tblGrid>
              <a:tr h="340106">
                <a:tc>
                  <a:txBody>
                    <a:bodyPr/>
                    <a:lstStyle/>
                    <a:p>
                      <a:r>
                        <a:rPr lang="en-US" sz="1600" dirty="0"/>
                        <a:t>Name</a:t>
                      </a:r>
                      <a:endParaRPr lang="en-US" sz="1600" b="0" dirty="0">
                        <a:solidFill>
                          <a:schemeClr val="bg1"/>
                        </a:solidFill>
                        <a:latin typeface="Segoe UI Semibold" panose="020B0702040204020203" pitchFamily="34" charset="0"/>
                        <a:cs typeface="Segoe UI Semibold" panose="020B0702040204020203" pitchFamily="34" charset="0"/>
                      </a:endParaRPr>
                    </a:p>
                  </a:txBody>
                  <a:tcPr marL="91414" marR="91414" marT="45706" marB="457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40106">
                <a:tc>
                  <a:txBody>
                    <a:bodyPr/>
                    <a:lstStyle/>
                    <a:p>
                      <a:r>
                        <a:rPr lang="en-US" sz="1600" dirty="0"/>
                        <a:t>Wayne Jefferson</a:t>
                      </a:r>
                      <a:endParaRPr lang="en-US" sz="1600" dirty="0">
                        <a:solidFill>
                          <a:schemeClr val="bg1"/>
                        </a:solidFill>
                        <a:latin typeface="+mj-lt"/>
                      </a:endParaRPr>
                    </a:p>
                  </a:txBody>
                  <a:tcPr marL="91414" marR="91414" marT="45706" marB="457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pSp>
        <p:nvGrpSpPr>
          <p:cNvPr id="26" name="Group 4">
            <a:extLst>
              <a:ext uri="{FF2B5EF4-FFF2-40B4-BE49-F238E27FC236}">
                <a16:creationId xmlns:a16="http://schemas.microsoft.com/office/drawing/2014/main" id="{03E177D0-8DFB-4C15-989B-9ED8D233DBC7}"/>
              </a:ext>
            </a:extLst>
          </p:cNvPr>
          <p:cNvGrpSpPr>
            <a:grpSpLocks noChangeAspect="1"/>
          </p:cNvGrpSpPr>
          <p:nvPr/>
        </p:nvGrpSpPr>
        <p:grpSpPr bwMode="auto">
          <a:xfrm>
            <a:off x="5775538" y="3474941"/>
            <a:ext cx="442699" cy="418329"/>
            <a:chOff x="4553" y="124"/>
            <a:chExt cx="654" cy="618"/>
          </a:xfrm>
        </p:grpSpPr>
        <p:sp>
          <p:nvSpPr>
            <p:cNvPr id="27" name="AutoShape 3">
              <a:extLst>
                <a:ext uri="{FF2B5EF4-FFF2-40B4-BE49-F238E27FC236}">
                  <a16:creationId xmlns:a16="http://schemas.microsoft.com/office/drawing/2014/main" id="{B5AB2C6F-C395-4DC1-A940-F6F058D0C7C4}"/>
                </a:ext>
              </a:extLst>
            </p:cNvPr>
            <p:cNvSpPr>
              <a:spLocks noChangeAspect="1" noChangeArrowheads="1" noTextEdit="1"/>
            </p:cNvSpPr>
            <p:nvPr/>
          </p:nvSpPr>
          <p:spPr bwMode="auto">
            <a:xfrm>
              <a:off x="4639" y="124"/>
              <a:ext cx="568"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29" tIns="44815" rIns="89629" bIns="44815" numCol="1" anchor="t" anchorCtr="0" compatLnSpc="1">
              <a:prstTxWarp prst="textNoShape">
                <a:avLst/>
              </a:prstTxWarp>
            </a:bodyPr>
            <a:lstStyle/>
            <a:p>
              <a:pPr defTabSz="896214"/>
              <a:endParaRPr lang="en-US" sz="1764" kern="0" dirty="0">
                <a:solidFill>
                  <a:schemeClr val="accent3">
                    <a:lumMod val="75000"/>
                  </a:schemeClr>
                </a:solidFill>
              </a:endParaRPr>
            </a:p>
          </p:txBody>
        </p:sp>
        <p:sp>
          <p:nvSpPr>
            <p:cNvPr id="28" name="Freeform 9">
              <a:extLst>
                <a:ext uri="{FF2B5EF4-FFF2-40B4-BE49-F238E27FC236}">
                  <a16:creationId xmlns:a16="http://schemas.microsoft.com/office/drawing/2014/main" id="{06A364F0-75FC-49D0-9183-C03AB38A4456}"/>
                </a:ext>
              </a:extLst>
            </p:cNvPr>
            <p:cNvSpPr>
              <a:spLocks/>
            </p:cNvSpPr>
            <p:nvPr/>
          </p:nvSpPr>
          <p:spPr bwMode="auto">
            <a:xfrm>
              <a:off x="4553" y="437"/>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endParaRPr lang="en-US" sz="1764" kern="0" dirty="0">
                <a:solidFill>
                  <a:schemeClr val="accent3">
                    <a:lumMod val="75000"/>
                  </a:schemeClr>
                </a:solidFill>
              </a:endParaRPr>
            </a:p>
          </p:txBody>
        </p:sp>
        <p:sp>
          <p:nvSpPr>
            <p:cNvPr id="29" name="Freeform 10">
              <a:extLst>
                <a:ext uri="{FF2B5EF4-FFF2-40B4-BE49-F238E27FC236}">
                  <a16:creationId xmlns:a16="http://schemas.microsoft.com/office/drawing/2014/main" id="{702F1511-6D17-4868-9E8B-42F8051B4B6B}"/>
                </a:ext>
              </a:extLst>
            </p:cNvPr>
            <p:cNvSpPr>
              <a:spLocks/>
            </p:cNvSpPr>
            <p:nvPr/>
          </p:nvSpPr>
          <p:spPr bwMode="auto">
            <a:xfrm>
              <a:off x="4553" y="372"/>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endParaRPr lang="en-US" sz="1764" kern="0" dirty="0">
                <a:solidFill>
                  <a:schemeClr val="accent3">
                    <a:lumMod val="75000"/>
                  </a:schemeClr>
                </a:solidFill>
              </a:endParaRPr>
            </a:p>
          </p:txBody>
        </p:sp>
        <p:sp>
          <p:nvSpPr>
            <p:cNvPr id="30" name="Freeform 11">
              <a:extLst>
                <a:ext uri="{FF2B5EF4-FFF2-40B4-BE49-F238E27FC236}">
                  <a16:creationId xmlns:a16="http://schemas.microsoft.com/office/drawing/2014/main" id="{3A3A85C4-E33A-4AA0-8048-59CF8482A51B}"/>
                </a:ext>
              </a:extLst>
            </p:cNvPr>
            <p:cNvSpPr>
              <a:spLocks/>
            </p:cNvSpPr>
            <p:nvPr/>
          </p:nvSpPr>
          <p:spPr bwMode="auto">
            <a:xfrm>
              <a:off x="4783" y="372"/>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endParaRPr lang="en-US" sz="1764" kern="0" dirty="0">
                <a:solidFill>
                  <a:schemeClr val="accent3">
                    <a:lumMod val="75000"/>
                  </a:schemeClr>
                </a:solidFill>
              </a:endParaRPr>
            </a:p>
          </p:txBody>
        </p:sp>
        <p:sp>
          <p:nvSpPr>
            <p:cNvPr id="31" name="Freeform 13">
              <a:extLst>
                <a:ext uri="{FF2B5EF4-FFF2-40B4-BE49-F238E27FC236}">
                  <a16:creationId xmlns:a16="http://schemas.microsoft.com/office/drawing/2014/main" id="{332DA05A-C5AF-4DCC-B643-FE9551EF31A2}"/>
                </a:ext>
              </a:extLst>
            </p:cNvPr>
            <p:cNvSpPr>
              <a:spLocks noEditPoints="1"/>
            </p:cNvSpPr>
            <p:nvPr/>
          </p:nvSpPr>
          <p:spPr bwMode="auto">
            <a:xfrm>
              <a:off x="4762" y="124"/>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896214"/>
              <a:endParaRPr lang="en-US" sz="1764" kern="0" dirty="0">
                <a:solidFill>
                  <a:schemeClr val="accent3">
                    <a:lumMod val="75000"/>
                  </a:schemeClr>
                </a:solidFill>
              </a:endParaRPr>
            </a:p>
          </p:txBody>
        </p:sp>
      </p:grpSp>
      <p:sp>
        <p:nvSpPr>
          <p:cNvPr id="32" name="TextBox 31">
            <a:extLst>
              <a:ext uri="{FF2B5EF4-FFF2-40B4-BE49-F238E27FC236}">
                <a16:creationId xmlns:a16="http://schemas.microsoft.com/office/drawing/2014/main" id="{C7D5C653-FF5C-4A59-BB44-5825F6DF25AF}"/>
              </a:ext>
            </a:extLst>
          </p:cNvPr>
          <p:cNvSpPr txBox="1"/>
          <p:nvPr/>
        </p:nvSpPr>
        <p:spPr>
          <a:xfrm>
            <a:off x="6709586" y="6003496"/>
            <a:ext cx="5451409" cy="539745"/>
          </a:xfrm>
          <a:prstGeom prst="rect">
            <a:avLst/>
          </a:prstGeom>
          <a:noFill/>
        </p:spPr>
        <p:txBody>
          <a:bodyPr wrap="square" lIns="182828" tIns="146263" rIns="182828" bIns="146263" rtlCol="0">
            <a:spAutoFit/>
          </a:bodyPr>
          <a:lstStyle/>
          <a:p>
            <a:pPr marL="0" lvl="1" defTabSz="896214">
              <a:lnSpc>
                <a:spcPct val="90000"/>
              </a:lnSpc>
              <a:spcAft>
                <a:spcPts val="600"/>
              </a:spcAft>
            </a:pPr>
            <a:r>
              <a:rPr lang="en-US" sz="1764" i="1" kern="0" dirty="0">
                <a:solidFill>
                  <a:schemeClr val="tx1">
                    <a:lumMod val="50000"/>
                  </a:schemeClr>
                </a:solidFill>
                <a:latin typeface="+mj-lt"/>
              </a:rPr>
              <a:t>Ciphertext</a:t>
            </a:r>
          </a:p>
        </p:txBody>
      </p:sp>
    </p:spTree>
    <p:extLst>
      <p:ext uri="{BB962C8B-B14F-4D97-AF65-F5344CB8AC3E}">
        <p14:creationId xmlns:p14="http://schemas.microsoft.com/office/powerpoint/2010/main" val="4222070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left)">
                                      <p:cBhvr>
                                        <p:cTn id="16" dur="500"/>
                                        <p:tgtEl>
                                          <p:spTgt spid="1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500"/>
                            </p:stCondLst>
                            <p:childTnLst>
                              <p:par>
                                <p:cTn id="30" presetID="22" presetClass="entr" presetSubtype="2" fill="hold" nodeType="after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wipe(right)">
                                      <p:cBhvr>
                                        <p:cTn id="32" dur="500"/>
                                        <p:tgtEl>
                                          <p:spTgt spid="2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nodeType="click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right)">
                                      <p:cBhvr>
                                        <p:cTn id="37" dur="500"/>
                                        <p:tgtEl>
                                          <p:spTgt spid="23"/>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500"/>
                                        <p:tgtEl>
                                          <p:spTgt spid="24"/>
                                        </p:tgtEl>
                                      </p:cBhvr>
                                    </p:animEffect>
                                  </p:childTnLst>
                                </p:cTn>
                              </p:par>
                              <p:par>
                                <p:cTn id="42" presetID="10" presetClass="entr" presetSubtype="0" fill="hold" nodeType="with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2" grpId="0"/>
      <p:bldP spid="2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9572" y="326411"/>
            <a:ext cx="11097332" cy="470856"/>
          </a:xfrm>
        </p:spPr>
        <p:txBody>
          <a:bodyPr wrap="square" anchor="t">
            <a:normAutofit fontScale="90000"/>
          </a:bodyPr>
          <a:lstStyle/>
          <a:p>
            <a:r>
              <a:rPr lang="en-US" dirty="0"/>
              <a:t>Column Keys</a:t>
            </a:r>
          </a:p>
        </p:txBody>
      </p:sp>
      <p:graphicFrame>
        <p:nvGraphicFramePr>
          <p:cNvPr id="5" name="Content Placeholder 4">
            <a:extLst>
              <a:ext uri="{FF2B5EF4-FFF2-40B4-BE49-F238E27FC236}">
                <a16:creationId xmlns:a16="http://schemas.microsoft.com/office/drawing/2014/main" id="{EFA5BE1C-6C01-4F05-A178-1E2AC6710B94}"/>
              </a:ext>
            </a:extLst>
          </p:cNvPr>
          <p:cNvGraphicFramePr>
            <a:graphicFrameLocks noGrp="1"/>
          </p:cNvGraphicFramePr>
          <p:nvPr>
            <p:ph sz="quarter" idx="13"/>
            <p:extLst>
              <p:ext uri="{D42A27DB-BD31-4B8C-83A1-F6EECF244321}">
                <p14:modId xmlns:p14="http://schemas.microsoft.com/office/powerpoint/2010/main" val="3502214645"/>
              </p:ext>
            </p:extLst>
          </p:nvPr>
        </p:nvGraphicFramePr>
        <p:xfrm>
          <a:off x="669572" y="1436145"/>
          <a:ext cx="11097333"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589181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provisioning</a:t>
            </a:r>
          </a:p>
        </p:txBody>
      </p:sp>
      <p:graphicFrame>
        <p:nvGraphicFramePr>
          <p:cNvPr id="4" name="Content Placeholder 3">
            <a:extLst>
              <a:ext uri="{FF2B5EF4-FFF2-40B4-BE49-F238E27FC236}">
                <a16:creationId xmlns:a16="http://schemas.microsoft.com/office/drawing/2014/main" id="{61BBC54F-532F-4466-82C5-A5CEE644A7DB}"/>
              </a:ext>
            </a:extLst>
          </p:cNvPr>
          <p:cNvGraphicFramePr>
            <a:graphicFrameLocks noGrp="1"/>
          </p:cNvGraphicFramePr>
          <p:nvPr>
            <p:ph sz="quarter" idx="13"/>
          </p:nvPr>
        </p:nvGraphicFramePr>
        <p:xfrm>
          <a:off x="669572" y="1436145"/>
          <a:ext cx="11097333"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5" name="Rectangle 54">
            <a:extLst>
              <a:ext uri="{FF2B5EF4-FFF2-40B4-BE49-F238E27FC236}">
                <a16:creationId xmlns:a16="http://schemas.microsoft.com/office/drawing/2014/main" id="{4D08764F-54D0-4BA9-9D5B-5930F3D25B6C}"/>
              </a:ext>
            </a:extLst>
          </p:cNvPr>
          <p:cNvSpPr/>
          <p:nvPr/>
        </p:nvSpPr>
        <p:spPr>
          <a:xfrm>
            <a:off x="10858477" y="1434934"/>
            <a:ext cx="1306344" cy="832433"/>
          </a:xfrm>
          <a:prstGeom prst="rect">
            <a:avLst/>
          </a:prstGeom>
        </p:spPr>
        <p:txBody>
          <a:bodyPr wrap="square">
            <a:spAutoFit/>
          </a:bodyPr>
          <a:lstStyle/>
          <a:p>
            <a:r>
              <a:rPr lang="en-US" sz="1568" dirty="0">
                <a:solidFill>
                  <a:schemeClr val="bg1"/>
                </a:solidFill>
              </a:rPr>
              <a:t>Column</a:t>
            </a:r>
          </a:p>
          <a:p>
            <a:r>
              <a:rPr lang="en-US" sz="1568" dirty="0">
                <a:solidFill>
                  <a:schemeClr val="bg1"/>
                </a:solidFill>
              </a:rPr>
              <a:t>master key</a:t>
            </a:r>
          </a:p>
          <a:p>
            <a:r>
              <a:rPr lang="en-US" sz="1568" dirty="0">
                <a:solidFill>
                  <a:schemeClr val="bg1"/>
                </a:solidFill>
              </a:rPr>
              <a:t>(CMK)</a:t>
            </a:r>
          </a:p>
        </p:txBody>
      </p:sp>
    </p:spTree>
    <p:extLst>
      <p:ext uri="{BB962C8B-B14F-4D97-AF65-F5344CB8AC3E}">
        <p14:creationId xmlns:p14="http://schemas.microsoft.com/office/powerpoint/2010/main" val="410869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672014" y="220662"/>
            <a:ext cx="11506779" cy="917575"/>
          </a:xfrm>
        </p:spPr>
        <p:txBody>
          <a:bodyPr/>
          <a:lstStyle/>
          <a:p>
            <a:r>
              <a:rPr lang="en-US" dirty="0"/>
              <a:t>Encryption Types</a:t>
            </a:r>
          </a:p>
        </p:txBody>
      </p:sp>
      <p:graphicFrame>
        <p:nvGraphicFramePr>
          <p:cNvPr id="3" name="Diagram 2">
            <a:extLst>
              <a:ext uri="{FF2B5EF4-FFF2-40B4-BE49-F238E27FC236}">
                <a16:creationId xmlns:a16="http://schemas.microsoft.com/office/drawing/2014/main" id="{58D44889-E961-421D-B2D2-7507D3C93F3D}"/>
              </a:ext>
            </a:extLst>
          </p:cNvPr>
          <p:cNvGraphicFramePr/>
          <p:nvPr>
            <p:extLst>
              <p:ext uri="{D42A27DB-BD31-4B8C-83A1-F6EECF244321}">
                <p14:modId xmlns:p14="http://schemas.microsoft.com/office/powerpoint/2010/main" val="3335616652"/>
              </p:ext>
            </p:extLst>
          </p:nvPr>
        </p:nvGraphicFramePr>
        <p:xfrm>
          <a:off x="672015" y="1480877"/>
          <a:ext cx="11506200" cy="47336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4662186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4"/>
                </a:solidFill>
              </a:rPr>
              <a:t>Encryption Methodologies </a:t>
            </a:r>
            <a:endParaRPr lang="en-US" sz="3999" dirty="0">
              <a:solidFill>
                <a:schemeClr val="accent4"/>
              </a:solidFill>
            </a:endParaRPr>
          </a:p>
        </p:txBody>
      </p:sp>
      <p:graphicFrame>
        <p:nvGraphicFramePr>
          <p:cNvPr id="8" name="Diagram 7">
            <a:extLst>
              <a:ext uri="{FF2B5EF4-FFF2-40B4-BE49-F238E27FC236}">
                <a16:creationId xmlns:a16="http://schemas.microsoft.com/office/drawing/2014/main" id="{F266A50C-034A-4EC2-9EFA-E286D53C1A6D}"/>
              </a:ext>
            </a:extLst>
          </p:cNvPr>
          <p:cNvGraphicFramePr/>
          <p:nvPr>
            <p:extLst>
              <p:ext uri="{D42A27DB-BD31-4B8C-83A1-F6EECF244321}">
                <p14:modId xmlns:p14="http://schemas.microsoft.com/office/powerpoint/2010/main" val="2094679397"/>
              </p:ext>
            </p:extLst>
          </p:nvPr>
        </p:nvGraphicFramePr>
        <p:xfrm>
          <a:off x="389466" y="1343184"/>
          <a:ext cx="11579825" cy="49518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89775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9572" y="326411"/>
            <a:ext cx="11097332" cy="470856"/>
          </a:xfrm>
        </p:spPr>
        <p:txBody>
          <a:bodyPr wrap="square" anchor="t">
            <a:normAutofit fontScale="90000"/>
          </a:bodyPr>
          <a:lstStyle/>
          <a:p>
            <a:r>
              <a:rPr lang="en-US"/>
              <a:t>Data Encryption Algorithm</a:t>
            </a:r>
          </a:p>
        </p:txBody>
      </p:sp>
      <p:graphicFrame>
        <p:nvGraphicFramePr>
          <p:cNvPr id="5" name="Content Placeholder 2">
            <a:extLst>
              <a:ext uri="{FF2B5EF4-FFF2-40B4-BE49-F238E27FC236}">
                <a16:creationId xmlns:a16="http://schemas.microsoft.com/office/drawing/2014/main" id="{BBEBC992-3694-409C-87E6-03D489B78540}"/>
              </a:ext>
            </a:extLst>
          </p:cNvPr>
          <p:cNvGraphicFramePr>
            <a:graphicFrameLocks noGrp="1"/>
          </p:cNvGraphicFramePr>
          <p:nvPr>
            <p:ph sz="quarter" idx="13"/>
          </p:nvPr>
        </p:nvGraphicFramePr>
        <p:xfrm>
          <a:off x="669572" y="1436145"/>
          <a:ext cx="11097333"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445404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548145B-F9B6-425C-BC29-9B2E87F44330}"/>
              </a:ext>
            </a:extLst>
          </p:cNvPr>
          <p:cNvSpPr>
            <a:spLocks noGrp="1"/>
          </p:cNvSpPr>
          <p:nvPr>
            <p:ph type="title"/>
          </p:nvPr>
        </p:nvSpPr>
        <p:spPr>
          <a:xfrm>
            <a:off x="668786" y="326411"/>
            <a:ext cx="11098906" cy="470856"/>
          </a:xfrm>
        </p:spPr>
        <p:txBody>
          <a:bodyPr/>
          <a:lstStyle/>
          <a:p>
            <a:r>
              <a:rPr lang="en-US" dirty="0"/>
              <a:t>Always Encrypted with Secure Enclaves</a:t>
            </a:r>
          </a:p>
        </p:txBody>
      </p:sp>
      <p:pic>
        <p:nvPicPr>
          <p:cNvPr id="7" name="Content Placeholder 6" descr="A screenshot of a video game&#10;&#10;Description automatically generated">
            <a:extLst>
              <a:ext uri="{FF2B5EF4-FFF2-40B4-BE49-F238E27FC236}">
                <a16:creationId xmlns:a16="http://schemas.microsoft.com/office/drawing/2014/main" id="{20355EF5-9D9B-40F8-BBE6-EF04CB73CE71}"/>
              </a:ext>
            </a:extLst>
          </p:cNvPr>
          <p:cNvPicPr>
            <a:picLocks noGrp="1" noChangeAspect="1"/>
          </p:cNvPicPr>
          <p:nvPr>
            <p:ph sz="quarter" idx="13"/>
          </p:nvPr>
        </p:nvPicPr>
        <p:blipFill>
          <a:blip r:embed="rId3"/>
          <a:stretch>
            <a:fillRect/>
          </a:stretch>
        </p:blipFill>
        <p:spPr>
          <a:xfrm>
            <a:off x="808037" y="2278062"/>
            <a:ext cx="11099800" cy="3551938"/>
          </a:xfrm>
          <a:noFill/>
        </p:spPr>
      </p:pic>
    </p:spTree>
    <p:extLst>
      <p:ext uri="{BB962C8B-B14F-4D97-AF65-F5344CB8AC3E}">
        <p14:creationId xmlns:p14="http://schemas.microsoft.com/office/powerpoint/2010/main" val="8362555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289230" y="220662"/>
            <a:ext cx="11889564" cy="917575"/>
          </a:xfrm>
        </p:spPr>
        <p:txBody>
          <a:bodyPr/>
          <a:lstStyle/>
          <a:p>
            <a:r>
              <a:rPr lang="en-US" dirty="0"/>
              <a:t>Always Encrypted</a:t>
            </a:r>
          </a:p>
        </p:txBody>
      </p:sp>
      <p:grpSp>
        <p:nvGrpSpPr>
          <p:cNvPr id="7" name="Group 6">
            <a:extLst>
              <a:ext uri="{FF2B5EF4-FFF2-40B4-BE49-F238E27FC236}">
                <a16:creationId xmlns:a16="http://schemas.microsoft.com/office/drawing/2014/main" id="{309F26B9-E4B5-46F4-9801-676139B5EC07}"/>
              </a:ext>
            </a:extLst>
          </p:cNvPr>
          <p:cNvGrpSpPr/>
          <p:nvPr/>
        </p:nvGrpSpPr>
        <p:grpSpPr>
          <a:xfrm>
            <a:off x="823812" y="1592262"/>
            <a:ext cx="10820400" cy="4572000"/>
            <a:chOff x="960437" y="1592262"/>
            <a:chExt cx="10820400" cy="4572000"/>
          </a:xfrm>
        </p:grpSpPr>
        <p:sp>
          <p:nvSpPr>
            <p:cNvPr id="5" name="Rectangle: Rounded Corners 4">
              <a:extLst>
                <a:ext uri="{FF2B5EF4-FFF2-40B4-BE49-F238E27FC236}">
                  <a16:creationId xmlns:a16="http://schemas.microsoft.com/office/drawing/2014/main" id="{43302ADB-875F-4364-93B2-7DFC074BD52C}"/>
                </a:ext>
              </a:extLst>
            </p:cNvPr>
            <p:cNvSpPr/>
            <p:nvPr/>
          </p:nvSpPr>
          <p:spPr bwMode="auto">
            <a:xfrm>
              <a:off x="960437" y="1592262"/>
              <a:ext cx="10820400" cy="4572000"/>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CD05ECAD-C646-4478-BEF3-5A01D5436AC0}"/>
                </a:ext>
              </a:extLst>
            </p:cNvPr>
            <p:cNvSpPr txBox="1"/>
            <p:nvPr/>
          </p:nvSpPr>
          <p:spPr>
            <a:xfrm>
              <a:off x="1782862" y="2938192"/>
              <a:ext cx="9372600" cy="1625060"/>
            </a:xfrm>
            <a:prstGeom prst="rect">
              <a:avLst/>
            </a:prstGeom>
            <a:noFill/>
          </p:spPr>
          <p:txBody>
            <a:bodyPr wrap="square" lIns="182880" tIns="146304" rIns="182880" bIns="146304" rtlCol="0">
              <a:spAutoFit/>
            </a:bodyPr>
            <a:lstStyle/>
            <a:p>
              <a:pPr algn="ctr">
                <a:lnSpc>
                  <a:spcPct val="90000"/>
                </a:lnSpc>
                <a:spcAft>
                  <a:spcPts val="600"/>
                </a:spcAft>
              </a:pPr>
              <a:r>
                <a:rPr lang="en-US" sz="9600" dirty="0">
                  <a:solidFill>
                    <a:schemeClr val="bg1"/>
                  </a:solidFill>
                </a:rPr>
                <a:t>Demonstration</a:t>
              </a:r>
            </a:p>
          </p:txBody>
        </p:sp>
      </p:grpSp>
    </p:spTree>
    <p:extLst>
      <p:ext uri="{BB962C8B-B14F-4D97-AF65-F5344CB8AC3E}">
        <p14:creationId xmlns:p14="http://schemas.microsoft.com/office/powerpoint/2010/main" val="2458518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52EF0B9-41BA-4837-8D8F-D9BF0D129CDF}"/>
              </a:ext>
            </a:extLst>
          </p:cNvPr>
          <p:cNvSpPr>
            <a:spLocks noGrp="1"/>
          </p:cNvSpPr>
          <p:nvPr>
            <p:ph type="body" sz="quarter" idx="10"/>
          </p:nvPr>
        </p:nvSpPr>
        <p:spPr>
          <a:xfrm>
            <a:off x="277003" y="2370800"/>
            <a:ext cx="11887200" cy="2252924"/>
          </a:xfrm>
        </p:spPr>
        <p:txBody>
          <a:bodyPr/>
          <a:lstStyle/>
          <a:p>
            <a:pPr marL="0" indent="0">
              <a:buNone/>
            </a:pPr>
            <a:r>
              <a:rPr lang="en-US" sz="3200" dirty="0">
                <a:solidFill>
                  <a:srgbClr val="008000"/>
                </a:solidFill>
                <a:latin typeface="Consolas" panose="020B0609020204030204" pitchFamily="49" charset="0"/>
              </a:rPr>
              <a:t>--Always </a:t>
            </a:r>
            <a:r>
              <a:rPr lang="en-US" sz="3200" dirty="0" err="1">
                <a:solidFill>
                  <a:srgbClr val="008000"/>
                </a:solidFill>
                <a:latin typeface="Consolas" panose="020B0609020204030204" pitchFamily="49" charset="0"/>
              </a:rPr>
              <a:t>Encypted</a:t>
            </a:r>
            <a:r>
              <a:rPr lang="en-US" sz="3200" dirty="0">
                <a:solidFill>
                  <a:srgbClr val="008000"/>
                </a:solidFill>
                <a:latin typeface="Consolas" panose="020B0609020204030204" pitchFamily="49" charset="0"/>
              </a:rPr>
              <a:t> catalog views</a:t>
            </a:r>
            <a:endParaRPr lang="en-US" sz="3200" dirty="0">
              <a:solidFill>
                <a:srgbClr val="000000"/>
              </a:solidFill>
              <a:latin typeface="Consolas" panose="020B0609020204030204" pitchFamily="49" charset="0"/>
            </a:endParaRPr>
          </a:p>
          <a:p>
            <a:pPr marL="0" indent="0">
              <a:buNone/>
            </a:pPr>
            <a:r>
              <a:rPr lang="en-US" sz="3200" dirty="0">
                <a:solidFill>
                  <a:srgbClr val="0000FF"/>
                </a:solidFill>
                <a:latin typeface="Consolas" panose="020B0609020204030204" pitchFamily="49" charset="0"/>
              </a:rPr>
              <a:t>SELECT</a:t>
            </a:r>
            <a:r>
              <a:rPr lang="en-US" sz="3200" dirty="0">
                <a:solidFill>
                  <a:srgbClr val="000000"/>
                </a:solidFill>
                <a:latin typeface="Consolas" panose="020B0609020204030204" pitchFamily="49" charset="0"/>
              </a:rPr>
              <a:t> </a:t>
            </a:r>
            <a:r>
              <a:rPr lang="en-US" sz="3200" dirty="0">
                <a:solidFill>
                  <a:srgbClr val="808080"/>
                </a:solidFill>
                <a:latin typeface="Consolas" panose="020B0609020204030204" pitchFamily="49" charset="0"/>
              </a:rPr>
              <a:t>*</a:t>
            </a:r>
            <a:r>
              <a:rPr lang="en-US" sz="3200" dirty="0">
                <a:solidFill>
                  <a:srgbClr val="000000"/>
                </a:solidFill>
                <a:latin typeface="Consolas" panose="020B0609020204030204" pitchFamily="49" charset="0"/>
              </a:rPr>
              <a:t> </a:t>
            </a:r>
            <a:r>
              <a:rPr lang="en-US" sz="3200" dirty="0">
                <a:solidFill>
                  <a:srgbClr val="0000FF"/>
                </a:solidFill>
                <a:latin typeface="Consolas" panose="020B0609020204030204" pitchFamily="49" charset="0"/>
              </a:rPr>
              <a:t>FROM</a:t>
            </a:r>
            <a:r>
              <a:rPr lang="en-US" sz="3200" dirty="0">
                <a:solidFill>
                  <a:srgbClr val="000000"/>
                </a:solidFill>
                <a:latin typeface="Consolas" panose="020B0609020204030204" pitchFamily="49" charset="0"/>
              </a:rPr>
              <a:t> </a:t>
            </a:r>
            <a:r>
              <a:rPr lang="en-US" sz="3200" dirty="0" err="1">
                <a:solidFill>
                  <a:schemeClr val="accent3">
                    <a:lumMod val="75000"/>
                  </a:schemeClr>
                </a:solidFill>
                <a:latin typeface="Consolas" panose="020B0609020204030204" pitchFamily="49" charset="0"/>
              </a:rPr>
              <a:t>sys.column_master_keys</a:t>
            </a:r>
            <a:endParaRPr lang="en-US" sz="3200" dirty="0">
              <a:solidFill>
                <a:schemeClr val="accent3">
                  <a:lumMod val="75000"/>
                </a:schemeClr>
              </a:solidFill>
              <a:latin typeface="Consolas" panose="020B0609020204030204" pitchFamily="49" charset="0"/>
            </a:endParaRPr>
          </a:p>
          <a:p>
            <a:pPr marL="0" indent="0">
              <a:buNone/>
            </a:pPr>
            <a:r>
              <a:rPr lang="en-US" sz="3200" dirty="0">
                <a:solidFill>
                  <a:srgbClr val="0000FF"/>
                </a:solidFill>
                <a:latin typeface="Consolas" panose="020B0609020204030204" pitchFamily="49" charset="0"/>
              </a:rPr>
              <a:t>SELECT</a:t>
            </a:r>
            <a:r>
              <a:rPr lang="en-US" sz="3200" dirty="0">
                <a:solidFill>
                  <a:srgbClr val="000000"/>
                </a:solidFill>
                <a:latin typeface="Consolas" panose="020B0609020204030204" pitchFamily="49" charset="0"/>
              </a:rPr>
              <a:t> </a:t>
            </a:r>
            <a:r>
              <a:rPr lang="en-US" sz="3200" dirty="0">
                <a:solidFill>
                  <a:srgbClr val="808080"/>
                </a:solidFill>
                <a:latin typeface="Consolas" panose="020B0609020204030204" pitchFamily="49" charset="0"/>
              </a:rPr>
              <a:t>*</a:t>
            </a:r>
            <a:r>
              <a:rPr lang="en-US" sz="3200" dirty="0">
                <a:solidFill>
                  <a:srgbClr val="000000"/>
                </a:solidFill>
                <a:latin typeface="Consolas" panose="020B0609020204030204" pitchFamily="49" charset="0"/>
              </a:rPr>
              <a:t> </a:t>
            </a:r>
            <a:r>
              <a:rPr lang="en-US" sz="3200" dirty="0">
                <a:solidFill>
                  <a:srgbClr val="0000FF"/>
                </a:solidFill>
                <a:latin typeface="Consolas" panose="020B0609020204030204" pitchFamily="49" charset="0"/>
              </a:rPr>
              <a:t>FROM</a:t>
            </a:r>
            <a:r>
              <a:rPr lang="en-US" sz="3200" dirty="0">
                <a:solidFill>
                  <a:srgbClr val="000000"/>
                </a:solidFill>
                <a:latin typeface="Consolas" panose="020B0609020204030204" pitchFamily="49" charset="0"/>
              </a:rPr>
              <a:t> </a:t>
            </a:r>
            <a:r>
              <a:rPr lang="en-US" sz="3200" dirty="0" err="1">
                <a:solidFill>
                  <a:schemeClr val="accent3">
                    <a:lumMod val="75000"/>
                  </a:schemeClr>
                </a:solidFill>
                <a:latin typeface="Consolas" panose="020B0609020204030204" pitchFamily="49" charset="0"/>
              </a:rPr>
              <a:t>sys.column_encryption_keys</a:t>
            </a:r>
            <a:endParaRPr lang="en-US" sz="3200" dirty="0">
              <a:solidFill>
                <a:schemeClr val="accent3">
                  <a:lumMod val="75000"/>
                </a:schemeClr>
              </a:solidFill>
              <a:latin typeface="Consolas" panose="020B0609020204030204" pitchFamily="49" charset="0"/>
            </a:endParaRPr>
          </a:p>
          <a:p>
            <a:pPr marL="0" indent="0">
              <a:buNone/>
            </a:pPr>
            <a:r>
              <a:rPr lang="en-US" sz="3200" dirty="0">
                <a:solidFill>
                  <a:srgbClr val="0000FF"/>
                </a:solidFill>
                <a:latin typeface="Consolas" panose="020B0609020204030204" pitchFamily="49" charset="0"/>
              </a:rPr>
              <a:t>SELECT</a:t>
            </a:r>
            <a:r>
              <a:rPr lang="en-US" sz="3200" dirty="0">
                <a:solidFill>
                  <a:srgbClr val="000000"/>
                </a:solidFill>
                <a:latin typeface="Consolas" panose="020B0609020204030204" pitchFamily="49" charset="0"/>
              </a:rPr>
              <a:t> </a:t>
            </a:r>
            <a:r>
              <a:rPr lang="en-US" sz="3200" dirty="0">
                <a:solidFill>
                  <a:srgbClr val="808080"/>
                </a:solidFill>
                <a:latin typeface="Consolas" panose="020B0609020204030204" pitchFamily="49" charset="0"/>
              </a:rPr>
              <a:t>*</a:t>
            </a:r>
            <a:r>
              <a:rPr lang="en-US" sz="3200" dirty="0">
                <a:solidFill>
                  <a:srgbClr val="000000"/>
                </a:solidFill>
                <a:latin typeface="Consolas" panose="020B0609020204030204" pitchFamily="49" charset="0"/>
              </a:rPr>
              <a:t> </a:t>
            </a:r>
            <a:r>
              <a:rPr lang="en-US" sz="3200" dirty="0">
                <a:solidFill>
                  <a:srgbClr val="0000FF"/>
                </a:solidFill>
                <a:latin typeface="Consolas" panose="020B0609020204030204" pitchFamily="49" charset="0"/>
              </a:rPr>
              <a:t>FROM</a:t>
            </a:r>
            <a:r>
              <a:rPr lang="en-US" sz="3200" dirty="0">
                <a:solidFill>
                  <a:srgbClr val="000000"/>
                </a:solidFill>
                <a:latin typeface="Consolas" panose="020B0609020204030204" pitchFamily="49" charset="0"/>
              </a:rPr>
              <a:t> </a:t>
            </a:r>
            <a:r>
              <a:rPr lang="en-US" sz="3200" dirty="0" err="1">
                <a:solidFill>
                  <a:schemeClr val="accent3">
                    <a:lumMod val="75000"/>
                  </a:schemeClr>
                </a:solidFill>
                <a:latin typeface="Consolas" panose="020B0609020204030204" pitchFamily="49" charset="0"/>
              </a:rPr>
              <a:t>sys.column_encryption_key_values</a:t>
            </a:r>
            <a:endParaRPr lang="en-US" sz="3200" dirty="0">
              <a:solidFill>
                <a:schemeClr val="accent3">
                  <a:lumMod val="75000"/>
                </a:schemeClr>
              </a:solidFill>
            </a:endParaRPr>
          </a:p>
        </p:txBody>
      </p:sp>
      <p:sp>
        <p:nvSpPr>
          <p:cNvPr id="3" name="Title 2">
            <a:extLst>
              <a:ext uri="{FF2B5EF4-FFF2-40B4-BE49-F238E27FC236}">
                <a16:creationId xmlns:a16="http://schemas.microsoft.com/office/drawing/2014/main" id="{2E3F008A-2891-459F-9192-5121BCC518B2}"/>
              </a:ext>
            </a:extLst>
          </p:cNvPr>
          <p:cNvSpPr>
            <a:spLocks noGrp="1"/>
          </p:cNvSpPr>
          <p:nvPr>
            <p:ph type="title"/>
          </p:nvPr>
        </p:nvSpPr>
        <p:spPr/>
        <p:txBody>
          <a:bodyPr/>
          <a:lstStyle/>
          <a:p>
            <a:r>
              <a:rPr lang="en-US" dirty="0"/>
              <a:t>Always Encrypted Catalog Views</a:t>
            </a:r>
          </a:p>
        </p:txBody>
      </p:sp>
    </p:spTree>
    <p:extLst>
      <p:ext uri="{BB962C8B-B14F-4D97-AF65-F5344CB8AC3E}">
        <p14:creationId xmlns:p14="http://schemas.microsoft.com/office/powerpoint/2010/main" val="385579690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2D08D2-E692-4A66-AD25-F3298E22E930}"/>
              </a:ext>
            </a:extLst>
          </p:cNvPr>
          <p:cNvSpPr>
            <a:spLocks noGrp="1"/>
          </p:cNvSpPr>
          <p:nvPr>
            <p:ph type="body" sz="quarter" idx="10"/>
          </p:nvPr>
        </p:nvSpPr>
        <p:spPr>
          <a:xfrm>
            <a:off x="579437" y="1744662"/>
            <a:ext cx="11582402" cy="4364272"/>
          </a:xfrm>
        </p:spPr>
        <p:txBody>
          <a:bodyPr/>
          <a:lstStyle/>
          <a:p>
            <a:pPr marL="0" indent="0">
              <a:buNone/>
            </a:pPr>
            <a:r>
              <a:rPr lang="en-US" sz="2800" dirty="0">
                <a:solidFill>
                  <a:srgbClr val="008000"/>
                </a:solidFill>
                <a:latin typeface="Consolas" panose="020B0609020204030204" pitchFamily="49" charset="0"/>
              </a:rPr>
              <a:t>--Find columns protected by Always Encrypted</a:t>
            </a:r>
            <a:endParaRPr lang="en-US" sz="2800" dirty="0">
              <a:solidFill>
                <a:srgbClr val="000000"/>
              </a:solidFill>
              <a:latin typeface="Consolas" panose="020B0609020204030204" pitchFamily="49" charset="0"/>
            </a:endParaRPr>
          </a:p>
          <a:p>
            <a:pPr marL="0" indent="0">
              <a:buNone/>
            </a:pPr>
            <a:r>
              <a:rPr lang="en-US" sz="2800" dirty="0">
                <a:solidFill>
                  <a:srgbClr val="0000FF"/>
                </a:solidFill>
                <a:latin typeface="Consolas" panose="020B0609020204030204" pitchFamily="49" charset="0"/>
              </a:rPr>
              <a:t>SELECT</a:t>
            </a:r>
            <a:r>
              <a:rPr lang="en-US" sz="2800" dirty="0">
                <a:solidFill>
                  <a:srgbClr val="000000"/>
                </a:solidFill>
                <a:latin typeface="Consolas" panose="020B0609020204030204" pitchFamily="49" charset="0"/>
              </a:rPr>
              <a:t> c</a:t>
            </a:r>
            <a:r>
              <a:rPr lang="en-US" sz="2800" dirty="0">
                <a:solidFill>
                  <a:srgbClr val="808080"/>
                </a:solidFill>
                <a:latin typeface="Consolas" panose="020B0609020204030204" pitchFamily="49" charset="0"/>
              </a:rPr>
              <a:t>.</a:t>
            </a:r>
            <a:r>
              <a:rPr lang="en-US" sz="2800" dirty="0">
                <a:solidFill>
                  <a:srgbClr val="0000FF"/>
                </a:solidFill>
                <a:latin typeface="Consolas" panose="020B0609020204030204" pitchFamily="49" charset="0"/>
              </a:rPr>
              <a:t>name</a:t>
            </a:r>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as</a:t>
            </a:r>
            <a:r>
              <a:rPr lang="en-US" sz="2800" dirty="0">
                <a:solidFill>
                  <a:srgbClr val="000000"/>
                </a:solidFill>
                <a:latin typeface="Consolas" panose="020B0609020204030204" pitchFamily="49" charset="0"/>
              </a:rPr>
              <a:t> </a:t>
            </a:r>
            <a:r>
              <a:rPr lang="en-US" sz="2800" dirty="0" err="1">
                <a:solidFill>
                  <a:srgbClr val="000000"/>
                </a:solidFill>
                <a:latin typeface="Consolas" panose="020B0609020204030204" pitchFamily="49" charset="0"/>
              </a:rPr>
              <a:t>E_Column</a:t>
            </a:r>
            <a:r>
              <a:rPr lang="en-US" sz="2800" dirty="0">
                <a:solidFill>
                  <a:srgbClr val="808080"/>
                </a:solidFill>
                <a:latin typeface="Consolas" panose="020B0609020204030204" pitchFamily="49" charset="0"/>
              </a:rPr>
              <a:t>,</a:t>
            </a:r>
            <a:r>
              <a:rPr lang="en-US" sz="2800" dirty="0">
                <a:solidFill>
                  <a:srgbClr val="000000"/>
                </a:solidFill>
                <a:latin typeface="Consolas" panose="020B0609020204030204" pitchFamily="49" charset="0"/>
              </a:rPr>
              <a:t> </a:t>
            </a:r>
            <a:r>
              <a:rPr lang="en-US" sz="2800" dirty="0" err="1">
                <a:solidFill>
                  <a:srgbClr val="000000"/>
                </a:solidFill>
                <a:latin typeface="Consolas" panose="020B0609020204030204" pitchFamily="49" charset="0"/>
              </a:rPr>
              <a:t>c</a:t>
            </a:r>
            <a:r>
              <a:rPr lang="en-US" sz="2800" dirty="0" err="1">
                <a:solidFill>
                  <a:srgbClr val="808080"/>
                </a:solidFill>
                <a:latin typeface="Consolas" panose="020B0609020204030204" pitchFamily="49" charset="0"/>
              </a:rPr>
              <a:t>.</a:t>
            </a:r>
            <a:r>
              <a:rPr lang="en-US" sz="2800" dirty="0" err="1">
                <a:solidFill>
                  <a:srgbClr val="000000"/>
                </a:solidFill>
                <a:latin typeface="Consolas" panose="020B0609020204030204" pitchFamily="49" charset="0"/>
              </a:rPr>
              <a:t>column_encryption_key_id</a:t>
            </a:r>
            <a:r>
              <a:rPr lang="en-US" sz="2800" dirty="0">
                <a:solidFill>
                  <a:srgbClr val="808080"/>
                </a:solidFill>
                <a:latin typeface="Consolas" panose="020B0609020204030204" pitchFamily="49" charset="0"/>
              </a:rPr>
              <a:t>,</a:t>
            </a:r>
            <a:endParaRPr lang="en-US" sz="2800" dirty="0">
              <a:solidFill>
                <a:srgbClr val="000000"/>
              </a:solidFill>
              <a:latin typeface="Consolas" panose="020B0609020204030204" pitchFamily="49" charset="0"/>
            </a:endParaRPr>
          </a:p>
          <a:p>
            <a:pPr marL="0" indent="0">
              <a:buNone/>
            </a:pPr>
            <a:r>
              <a:rPr lang="en-US" sz="2800" dirty="0">
                <a:solidFill>
                  <a:srgbClr val="000000"/>
                </a:solidFill>
                <a:latin typeface="Consolas" panose="020B0609020204030204" pitchFamily="49" charset="0"/>
              </a:rPr>
              <a:t>   cek</a:t>
            </a:r>
            <a:r>
              <a:rPr lang="en-US" sz="2800" dirty="0">
                <a:solidFill>
                  <a:srgbClr val="808080"/>
                </a:solidFill>
                <a:latin typeface="Consolas" panose="020B0609020204030204" pitchFamily="49" charset="0"/>
              </a:rPr>
              <a:t>.</a:t>
            </a:r>
            <a:r>
              <a:rPr lang="en-US" sz="2800" dirty="0">
                <a:solidFill>
                  <a:srgbClr val="0000FF"/>
                </a:solidFill>
                <a:latin typeface="Consolas" panose="020B0609020204030204" pitchFamily="49" charset="0"/>
              </a:rPr>
              <a:t>name</a:t>
            </a:r>
            <a:r>
              <a:rPr lang="en-US" sz="2800" dirty="0">
                <a:solidFill>
                  <a:srgbClr val="000000"/>
                </a:solidFill>
                <a:latin typeface="Consolas" panose="020B0609020204030204" pitchFamily="49" charset="0"/>
              </a:rPr>
              <a:t> </a:t>
            </a:r>
            <a:r>
              <a:rPr lang="en-US" sz="2800" dirty="0">
                <a:solidFill>
                  <a:srgbClr val="0000FF"/>
                </a:solidFill>
                <a:latin typeface="Consolas" panose="020B0609020204030204" pitchFamily="49" charset="0"/>
              </a:rPr>
              <a:t>as</a:t>
            </a:r>
            <a:r>
              <a:rPr lang="en-US" sz="2800" dirty="0">
                <a:solidFill>
                  <a:srgbClr val="000000"/>
                </a:solidFill>
                <a:latin typeface="Consolas" panose="020B0609020204030204" pitchFamily="49" charset="0"/>
              </a:rPr>
              <a:t> </a:t>
            </a:r>
            <a:r>
              <a:rPr lang="en-US" sz="2800" dirty="0" err="1">
                <a:solidFill>
                  <a:srgbClr val="000000"/>
                </a:solidFill>
                <a:latin typeface="Consolas" panose="020B0609020204030204" pitchFamily="49" charset="0"/>
              </a:rPr>
              <a:t>E_Key</a:t>
            </a:r>
            <a:r>
              <a:rPr lang="en-US" sz="2800" dirty="0">
                <a:solidFill>
                  <a:srgbClr val="808080"/>
                </a:solidFill>
                <a:latin typeface="Consolas" panose="020B0609020204030204" pitchFamily="49" charset="0"/>
              </a:rPr>
              <a:t>,</a:t>
            </a:r>
            <a:r>
              <a:rPr lang="en-US" sz="2800" dirty="0">
                <a:solidFill>
                  <a:srgbClr val="000000"/>
                </a:solidFill>
                <a:latin typeface="Consolas" panose="020B0609020204030204" pitchFamily="49" charset="0"/>
              </a:rPr>
              <a:t> </a:t>
            </a:r>
            <a:r>
              <a:rPr lang="en-US" sz="2800" dirty="0" err="1">
                <a:solidFill>
                  <a:srgbClr val="000000"/>
                </a:solidFill>
                <a:latin typeface="Consolas" panose="020B0609020204030204" pitchFamily="49" charset="0"/>
              </a:rPr>
              <a:t>encryption_type_desc</a:t>
            </a:r>
            <a:r>
              <a:rPr lang="en-US" sz="2800" dirty="0">
                <a:solidFill>
                  <a:srgbClr val="808080"/>
                </a:solidFill>
                <a:latin typeface="Consolas" panose="020B0609020204030204" pitchFamily="49" charset="0"/>
              </a:rPr>
              <a:t>,</a:t>
            </a:r>
            <a:endParaRPr lang="en-US" sz="2800" dirty="0">
              <a:solidFill>
                <a:srgbClr val="000000"/>
              </a:solidFill>
              <a:latin typeface="Consolas" panose="020B0609020204030204" pitchFamily="49" charset="0"/>
            </a:endParaRPr>
          </a:p>
          <a:p>
            <a:pPr marL="0" indent="0">
              <a:buNone/>
            </a:pPr>
            <a:r>
              <a:rPr lang="en-US" sz="2800" dirty="0">
                <a:solidFill>
                  <a:srgbClr val="000000"/>
                </a:solidFill>
                <a:latin typeface="Consolas" panose="020B0609020204030204" pitchFamily="49" charset="0"/>
              </a:rPr>
              <a:t>   </a:t>
            </a:r>
            <a:r>
              <a:rPr lang="en-US" sz="2800" dirty="0" err="1">
                <a:solidFill>
                  <a:srgbClr val="000000"/>
                </a:solidFill>
                <a:latin typeface="Consolas" panose="020B0609020204030204" pitchFamily="49" charset="0"/>
              </a:rPr>
              <a:t>encryption_algorithm_name</a:t>
            </a:r>
            <a:endParaRPr lang="en-US" sz="2800" dirty="0">
              <a:solidFill>
                <a:srgbClr val="000000"/>
              </a:solidFill>
              <a:latin typeface="Consolas" panose="020B0609020204030204" pitchFamily="49" charset="0"/>
            </a:endParaRPr>
          </a:p>
          <a:p>
            <a:pPr marL="0" indent="0">
              <a:buNone/>
            </a:pPr>
            <a:r>
              <a:rPr lang="en-US" sz="2800" dirty="0">
                <a:solidFill>
                  <a:srgbClr val="0000FF"/>
                </a:solidFill>
                <a:latin typeface="Consolas" panose="020B0609020204030204" pitchFamily="49" charset="0"/>
              </a:rPr>
              <a:t>FROM</a:t>
            </a:r>
            <a:r>
              <a:rPr lang="en-US" sz="2800" dirty="0">
                <a:solidFill>
                  <a:srgbClr val="000000"/>
                </a:solidFill>
                <a:latin typeface="Consolas" panose="020B0609020204030204" pitchFamily="49" charset="0"/>
              </a:rPr>
              <a:t> </a:t>
            </a:r>
            <a:r>
              <a:rPr lang="en-US" sz="2800" dirty="0" err="1">
                <a:solidFill>
                  <a:schemeClr val="accent3">
                    <a:lumMod val="75000"/>
                  </a:schemeClr>
                </a:solidFill>
                <a:latin typeface="Consolas" panose="020B0609020204030204" pitchFamily="49" charset="0"/>
              </a:rPr>
              <a:t>sys.columns</a:t>
            </a:r>
            <a:r>
              <a:rPr lang="en-US" sz="2800" dirty="0">
                <a:solidFill>
                  <a:schemeClr val="accent3">
                    <a:lumMod val="75000"/>
                  </a:schemeClr>
                </a:solidFill>
                <a:latin typeface="Consolas" panose="020B0609020204030204" pitchFamily="49" charset="0"/>
              </a:rPr>
              <a:t> </a:t>
            </a:r>
            <a:r>
              <a:rPr lang="en-US" sz="2800" dirty="0">
                <a:solidFill>
                  <a:srgbClr val="0000FF"/>
                </a:solidFill>
                <a:latin typeface="Consolas" panose="020B0609020204030204" pitchFamily="49" charset="0"/>
              </a:rPr>
              <a:t>as</a:t>
            </a:r>
            <a:r>
              <a:rPr lang="en-US" sz="2800" dirty="0">
                <a:solidFill>
                  <a:srgbClr val="000000"/>
                </a:solidFill>
                <a:latin typeface="Consolas" panose="020B0609020204030204" pitchFamily="49" charset="0"/>
              </a:rPr>
              <a:t> c</a:t>
            </a:r>
          </a:p>
          <a:p>
            <a:pPr marL="0" indent="0">
              <a:buNone/>
            </a:pPr>
            <a:r>
              <a:rPr lang="en-US" sz="2800" dirty="0">
                <a:solidFill>
                  <a:srgbClr val="808080"/>
                </a:solidFill>
                <a:latin typeface="Consolas" panose="020B0609020204030204" pitchFamily="49" charset="0"/>
              </a:rPr>
              <a:t>JOIN</a:t>
            </a:r>
            <a:r>
              <a:rPr lang="en-US" sz="2800" dirty="0">
                <a:solidFill>
                  <a:srgbClr val="000000"/>
                </a:solidFill>
                <a:latin typeface="Consolas" panose="020B0609020204030204" pitchFamily="49" charset="0"/>
              </a:rPr>
              <a:t> </a:t>
            </a:r>
            <a:r>
              <a:rPr lang="en-US" sz="2800" dirty="0" err="1">
                <a:solidFill>
                  <a:schemeClr val="accent3">
                    <a:lumMod val="75000"/>
                  </a:schemeClr>
                </a:solidFill>
                <a:latin typeface="Consolas" panose="020B0609020204030204" pitchFamily="49" charset="0"/>
              </a:rPr>
              <a:t>sys.column_encryption_keys</a:t>
            </a:r>
            <a:r>
              <a:rPr lang="en-US" sz="2800" dirty="0">
                <a:solidFill>
                  <a:schemeClr val="accent3">
                    <a:lumMod val="75000"/>
                  </a:schemeClr>
                </a:solidFill>
                <a:latin typeface="Consolas" panose="020B0609020204030204" pitchFamily="49" charset="0"/>
              </a:rPr>
              <a:t> </a:t>
            </a:r>
            <a:r>
              <a:rPr lang="en-US" sz="2800" dirty="0">
                <a:solidFill>
                  <a:srgbClr val="0000FF"/>
                </a:solidFill>
                <a:latin typeface="Consolas" panose="020B0609020204030204" pitchFamily="49" charset="0"/>
              </a:rPr>
              <a:t>as</a:t>
            </a:r>
            <a:r>
              <a:rPr lang="en-US" sz="2800" dirty="0">
                <a:solidFill>
                  <a:srgbClr val="000000"/>
                </a:solidFill>
                <a:latin typeface="Consolas" panose="020B0609020204030204" pitchFamily="49" charset="0"/>
              </a:rPr>
              <a:t> </a:t>
            </a:r>
            <a:r>
              <a:rPr lang="en-US" sz="2800" dirty="0" err="1">
                <a:solidFill>
                  <a:srgbClr val="000000"/>
                </a:solidFill>
                <a:latin typeface="Consolas" panose="020B0609020204030204" pitchFamily="49" charset="0"/>
              </a:rPr>
              <a:t>cek</a:t>
            </a:r>
            <a:endParaRPr lang="en-US" sz="2800" dirty="0">
              <a:solidFill>
                <a:srgbClr val="000000"/>
              </a:solidFill>
              <a:latin typeface="Consolas" panose="020B0609020204030204" pitchFamily="49" charset="0"/>
            </a:endParaRPr>
          </a:p>
          <a:p>
            <a:pPr marL="0" indent="0">
              <a:buNone/>
            </a:pPr>
            <a:r>
              <a:rPr lang="en-US" sz="2800" dirty="0">
                <a:solidFill>
                  <a:srgbClr val="0000FF"/>
                </a:solidFill>
                <a:latin typeface="Consolas" panose="020B0609020204030204" pitchFamily="49" charset="0"/>
              </a:rPr>
              <a:t>ON</a:t>
            </a:r>
            <a:r>
              <a:rPr lang="en-US" sz="2800" dirty="0">
                <a:solidFill>
                  <a:srgbClr val="000000"/>
                </a:solidFill>
                <a:latin typeface="Consolas" panose="020B0609020204030204" pitchFamily="49" charset="0"/>
              </a:rPr>
              <a:t> </a:t>
            </a:r>
            <a:r>
              <a:rPr lang="en-US" sz="2800" dirty="0" err="1">
                <a:solidFill>
                  <a:srgbClr val="000000"/>
                </a:solidFill>
                <a:latin typeface="Consolas" panose="020B0609020204030204" pitchFamily="49" charset="0"/>
              </a:rPr>
              <a:t>c</a:t>
            </a:r>
            <a:r>
              <a:rPr lang="en-US" sz="2800" dirty="0" err="1">
                <a:solidFill>
                  <a:srgbClr val="808080"/>
                </a:solidFill>
                <a:latin typeface="Consolas" panose="020B0609020204030204" pitchFamily="49" charset="0"/>
              </a:rPr>
              <a:t>.</a:t>
            </a:r>
            <a:r>
              <a:rPr lang="en-US" sz="2800" dirty="0" err="1">
                <a:solidFill>
                  <a:srgbClr val="000000"/>
                </a:solidFill>
                <a:latin typeface="Consolas" panose="020B0609020204030204" pitchFamily="49" charset="0"/>
              </a:rPr>
              <a:t>column_encryption_key_id</a:t>
            </a:r>
            <a:r>
              <a:rPr lang="en-US" sz="2800" dirty="0">
                <a:solidFill>
                  <a:srgbClr val="000000"/>
                </a:solidFill>
                <a:latin typeface="Consolas" panose="020B0609020204030204" pitchFamily="49" charset="0"/>
              </a:rPr>
              <a:t> </a:t>
            </a:r>
            <a:r>
              <a:rPr lang="en-US" sz="2800" dirty="0">
                <a:solidFill>
                  <a:srgbClr val="808080"/>
                </a:solidFill>
                <a:latin typeface="Consolas" panose="020B0609020204030204" pitchFamily="49" charset="0"/>
              </a:rPr>
              <a:t>=</a:t>
            </a:r>
            <a:r>
              <a:rPr lang="en-US" sz="2800" dirty="0">
                <a:solidFill>
                  <a:srgbClr val="000000"/>
                </a:solidFill>
                <a:latin typeface="Consolas" panose="020B0609020204030204" pitchFamily="49" charset="0"/>
              </a:rPr>
              <a:t> </a:t>
            </a:r>
          </a:p>
          <a:p>
            <a:pPr marL="0" indent="0">
              <a:buNone/>
            </a:pPr>
            <a:r>
              <a:rPr lang="en-US" sz="2800" dirty="0">
                <a:solidFill>
                  <a:srgbClr val="000000"/>
                </a:solidFill>
                <a:latin typeface="Consolas" panose="020B0609020204030204" pitchFamily="49" charset="0"/>
              </a:rPr>
              <a:t>   </a:t>
            </a:r>
            <a:r>
              <a:rPr lang="en-US" sz="2800" dirty="0" err="1">
                <a:solidFill>
                  <a:srgbClr val="000000"/>
                </a:solidFill>
                <a:latin typeface="Consolas" panose="020B0609020204030204" pitchFamily="49" charset="0"/>
              </a:rPr>
              <a:t>cek</a:t>
            </a:r>
            <a:r>
              <a:rPr lang="en-US" sz="2800" dirty="0" err="1">
                <a:solidFill>
                  <a:srgbClr val="808080"/>
                </a:solidFill>
                <a:latin typeface="Consolas" panose="020B0609020204030204" pitchFamily="49" charset="0"/>
              </a:rPr>
              <a:t>.</a:t>
            </a:r>
            <a:r>
              <a:rPr lang="en-US" sz="2800" dirty="0" err="1">
                <a:solidFill>
                  <a:srgbClr val="000000"/>
                </a:solidFill>
                <a:latin typeface="Consolas" panose="020B0609020204030204" pitchFamily="49" charset="0"/>
              </a:rPr>
              <a:t>column_encryption_key_id</a:t>
            </a:r>
            <a:endParaRPr lang="en-US" sz="2800" dirty="0">
              <a:solidFill>
                <a:srgbClr val="000000"/>
              </a:solidFill>
              <a:latin typeface="Consolas" panose="020B0609020204030204" pitchFamily="49" charset="0"/>
            </a:endParaRPr>
          </a:p>
          <a:p>
            <a:pPr marL="0" indent="0">
              <a:buNone/>
            </a:pPr>
            <a:r>
              <a:rPr lang="en-US" sz="2800" dirty="0">
                <a:solidFill>
                  <a:srgbClr val="0000FF"/>
                </a:solidFill>
                <a:latin typeface="Consolas" panose="020B0609020204030204" pitchFamily="49" charset="0"/>
              </a:rPr>
              <a:t>WHERE</a:t>
            </a:r>
            <a:r>
              <a:rPr lang="en-US" sz="2800" dirty="0">
                <a:solidFill>
                  <a:srgbClr val="000000"/>
                </a:solidFill>
                <a:latin typeface="Consolas" panose="020B0609020204030204" pitchFamily="49" charset="0"/>
              </a:rPr>
              <a:t> </a:t>
            </a:r>
            <a:r>
              <a:rPr lang="en-US" sz="2800" dirty="0" err="1">
                <a:solidFill>
                  <a:srgbClr val="000000"/>
                </a:solidFill>
                <a:latin typeface="Consolas" panose="020B0609020204030204" pitchFamily="49" charset="0"/>
              </a:rPr>
              <a:t>c</a:t>
            </a:r>
            <a:r>
              <a:rPr lang="en-US" sz="2800" dirty="0" err="1">
                <a:solidFill>
                  <a:srgbClr val="808080"/>
                </a:solidFill>
                <a:latin typeface="Consolas" panose="020B0609020204030204" pitchFamily="49" charset="0"/>
              </a:rPr>
              <a:t>.</a:t>
            </a:r>
            <a:r>
              <a:rPr lang="en-US" sz="2800" dirty="0" err="1">
                <a:solidFill>
                  <a:srgbClr val="000000"/>
                </a:solidFill>
                <a:latin typeface="Consolas" panose="020B0609020204030204" pitchFamily="49" charset="0"/>
              </a:rPr>
              <a:t>column_encryption_key_id</a:t>
            </a:r>
            <a:r>
              <a:rPr lang="en-US" sz="2800" dirty="0">
                <a:solidFill>
                  <a:srgbClr val="000000"/>
                </a:solidFill>
                <a:latin typeface="Consolas" panose="020B0609020204030204" pitchFamily="49" charset="0"/>
              </a:rPr>
              <a:t> </a:t>
            </a:r>
            <a:r>
              <a:rPr lang="en-US" sz="2800" dirty="0">
                <a:solidFill>
                  <a:srgbClr val="808080"/>
                </a:solidFill>
                <a:latin typeface="Consolas" panose="020B0609020204030204" pitchFamily="49" charset="0"/>
              </a:rPr>
              <a:t>IS</a:t>
            </a:r>
            <a:r>
              <a:rPr lang="en-US" sz="2800" dirty="0">
                <a:solidFill>
                  <a:srgbClr val="000000"/>
                </a:solidFill>
                <a:latin typeface="Consolas" panose="020B0609020204030204" pitchFamily="49" charset="0"/>
              </a:rPr>
              <a:t> </a:t>
            </a:r>
            <a:r>
              <a:rPr lang="en-US" sz="2800" dirty="0">
                <a:solidFill>
                  <a:srgbClr val="808080"/>
                </a:solidFill>
                <a:latin typeface="Consolas" panose="020B0609020204030204" pitchFamily="49" charset="0"/>
              </a:rPr>
              <a:t>NOT</a:t>
            </a:r>
            <a:r>
              <a:rPr lang="en-US" sz="2800" dirty="0">
                <a:solidFill>
                  <a:srgbClr val="000000"/>
                </a:solidFill>
                <a:latin typeface="Consolas" panose="020B0609020204030204" pitchFamily="49" charset="0"/>
              </a:rPr>
              <a:t> </a:t>
            </a:r>
            <a:r>
              <a:rPr lang="en-US" sz="2800" dirty="0">
                <a:solidFill>
                  <a:srgbClr val="808080"/>
                </a:solidFill>
                <a:latin typeface="Consolas" panose="020B0609020204030204" pitchFamily="49" charset="0"/>
              </a:rPr>
              <a:t>NULL</a:t>
            </a:r>
            <a:endParaRPr lang="en-US" sz="2800" dirty="0"/>
          </a:p>
        </p:txBody>
      </p:sp>
      <p:sp>
        <p:nvSpPr>
          <p:cNvPr id="3" name="Title 2">
            <a:extLst>
              <a:ext uri="{FF2B5EF4-FFF2-40B4-BE49-F238E27FC236}">
                <a16:creationId xmlns:a16="http://schemas.microsoft.com/office/drawing/2014/main" id="{B0128151-1BFE-48B1-8691-A68E2AAE6BBE}"/>
              </a:ext>
            </a:extLst>
          </p:cNvPr>
          <p:cNvSpPr>
            <a:spLocks noGrp="1"/>
          </p:cNvSpPr>
          <p:nvPr>
            <p:ph type="title"/>
          </p:nvPr>
        </p:nvSpPr>
        <p:spPr/>
        <p:txBody>
          <a:bodyPr/>
          <a:lstStyle/>
          <a:p>
            <a:r>
              <a:rPr lang="en-US" dirty="0"/>
              <a:t>Find Always Encrypted Columns</a:t>
            </a:r>
          </a:p>
        </p:txBody>
      </p:sp>
    </p:spTree>
    <p:extLst>
      <p:ext uri="{BB962C8B-B14F-4D97-AF65-F5344CB8AC3E}">
        <p14:creationId xmlns:p14="http://schemas.microsoft.com/office/powerpoint/2010/main" val="37385672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5771" y="5659860"/>
            <a:ext cx="2163285" cy="71980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mct logo microsoft">
            <a:extLst>
              <a:ext uri="{FF2B5EF4-FFF2-40B4-BE49-F238E27FC236}">
                <a16:creationId xmlns:a16="http://schemas.microsoft.com/office/drawing/2014/main" id="{C2C9CEA5-B428-4D62-B44C-540EA43C823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04644" y="5492093"/>
            <a:ext cx="1931247" cy="105533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175565F-9629-43D4-B37E-491F8382277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3202" y="5290941"/>
            <a:ext cx="1607443" cy="1607443"/>
          </a:xfrm>
          <a:prstGeom prst="rect">
            <a:avLst/>
          </a:prstGeom>
        </p:spPr>
      </p:pic>
      <p:sp>
        <p:nvSpPr>
          <p:cNvPr id="14" name="TextBox 13">
            <a:extLst>
              <a:ext uri="{FF2B5EF4-FFF2-40B4-BE49-F238E27FC236}">
                <a16:creationId xmlns:a16="http://schemas.microsoft.com/office/drawing/2014/main" id="{58F322D1-571A-45D1-A3A3-EE3DD7FF3C6A}"/>
              </a:ext>
            </a:extLst>
          </p:cNvPr>
          <p:cNvSpPr txBox="1"/>
          <p:nvPr/>
        </p:nvSpPr>
        <p:spPr>
          <a:xfrm>
            <a:off x="3770267" y="1750203"/>
            <a:ext cx="8133133" cy="2911717"/>
          </a:xfrm>
          <a:prstGeom prst="rect">
            <a:avLst/>
          </a:prstGeom>
          <a:noFill/>
        </p:spPr>
        <p:txBody>
          <a:bodyPr wrap="square" rtlCol="0">
            <a:spAutoFit/>
          </a:bodyPr>
          <a:lstStyle/>
          <a:p>
            <a:pPr defTabSz="932597"/>
            <a:r>
              <a:rPr lang="en-US" sz="3264" u="sng" dirty="0">
                <a:solidFill>
                  <a:prstClr val="white"/>
                </a:solidFill>
                <a:latin typeface="Arial" panose="020B0604020202020204" pitchFamily="34" charset="0"/>
                <a:cs typeface="Arial" panose="020B0604020202020204" pitchFamily="34" charset="0"/>
              </a:rPr>
              <a:t>John Deardurff – Premier Field Engineer</a:t>
            </a:r>
          </a:p>
          <a:p>
            <a:pPr defTabSz="932597"/>
            <a:r>
              <a:rPr lang="en-US" sz="2448" dirty="0">
                <a:solidFill>
                  <a:prstClr val="white"/>
                </a:solidFill>
                <a:latin typeface="Arial" panose="020B0604020202020204" pitchFamily="34" charset="0"/>
                <a:cs typeface="Arial" panose="020B0604020202020204" pitchFamily="34" charset="0"/>
              </a:rPr>
              <a:t>MCSA, MCSD, MCSE, MCDBA, MCITP, MCT</a:t>
            </a:r>
          </a:p>
          <a:p>
            <a:pPr defTabSz="932597"/>
            <a:r>
              <a:rPr lang="en-US" sz="2448" dirty="0">
                <a:solidFill>
                  <a:prstClr val="white"/>
                </a:solidFill>
                <a:latin typeface="Arial" panose="020B0604020202020204" pitchFamily="34" charset="0"/>
                <a:cs typeface="Arial" panose="020B0604020202020204" pitchFamily="34" charset="0"/>
              </a:rPr>
              <a:t>MBA: IT Management</a:t>
            </a:r>
          </a:p>
          <a:p>
            <a:pPr defTabSz="932597"/>
            <a:r>
              <a:rPr lang="en-US" sz="2448" dirty="0">
                <a:solidFill>
                  <a:prstClr val="white"/>
                </a:solidFill>
                <a:latin typeface="Arial" panose="020B0604020202020204" pitchFamily="34" charset="0"/>
                <a:cs typeface="Arial" panose="020B0604020202020204" pitchFamily="34" charset="0"/>
              </a:rPr>
              <a:t>MCT Regional Lead – United States</a:t>
            </a:r>
          </a:p>
          <a:p>
            <a:pPr defTabSz="932597"/>
            <a:r>
              <a:rPr lang="en-US" sz="2448" dirty="0">
                <a:solidFill>
                  <a:prstClr val="white"/>
                </a:solidFill>
                <a:latin typeface="Arial" panose="020B0604020202020204" pitchFamily="34" charset="0"/>
                <a:cs typeface="Arial" panose="020B0604020202020204" pitchFamily="34" charset="0"/>
              </a:rPr>
              <a:t>MVP: Data Platform (2016 – 2018)</a:t>
            </a:r>
          </a:p>
          <a:p>
            <a:pPr defTabSz="932597"/>
            <a:r>
              <a:rPr lang="en-US" sz="2448" dirty="0">
                <a:solidFill>
                  <a:prstClr val="white"/>
                </a:solidFill>
                <a:latin typeface="Arial" panose="020B0604020202020204" pitchFamily="34" charset="0"/>
                <a:cs typeface="Arial" panose="020B0604020202020204" pitchFamily="34" charset="0"/>
              </a:rPr>
              <a:t>John.Deardurff@Microsoft.com</a:t>
            </a:r>
          </a:p>
          <a:p>
            <a:pPr defTabSz="932597"/>
            <a:r>
              <a:rPr lang="en-US" sz="2448" dirty="0">
                <a:solidFill>
                  <a:prstClr val="white"/>
                </a:solidFill>
                <a:latin typeface="Arial" panose="020B0604020202020204" pitchFamily="34" charset="0"/>
                <a:cs typeface="Arial" panose="020B0604020202020204" pitchFamily="34" charset="0"/>
              </a:rPr>
              <a:t>www.SQLMCT.com</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538" y="1750203"/>
            <a:ext cx="2994500" cy="2994500"/>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40359546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B5E555-9C38-4387-A322-4129ADC33CC4}"/>
              </a:ext>
            </a:extLst>
          </p:cNvPr>
          <p:cNvSpPr>
            <a:spLocks noGrp="1"/>
          </p:cNvSpPr>
          <p:nvPr>
            <p:ph type="title"/>
          </p:nvPr>
        </p:nvSpPr>
        <p:spPr/>
        <p:txBody>
          <a:bodyPr/>
          <a:lstStyle/>
          <a:p>
            <a:r>
              <a:rPr lang="en-US" dirty="0"/>
              <a:t>Column Encryption Setting = Enabled</a:t>
            </a:r>
          </a:p>
        </p:txBody>
      </p:sp>
      <p:pic>
        <p:nvPicPr>
          <p:cNvPr id="5" name="Picture 4">
            <a:extLst>
              <a:ext uri="{FF2B5EF4-FFF2-40B4-BE49-F238E27FC236}">
                <a16:creationId xmlns:a16="http://schemas.microsoft.com/office/drawing/2014/main" id="{0B80F5A5-4C52-43A9-804E-8CE557A5F1CF}"/>
              </a:ext>
            </a:extLst>
          </p:cNvPr>
          <p:cNvPicPr>
            <a:picLocks noChangeAspect="1"/>
          </p:cNvPicPr>
          <p:nvPr/>
        </p:nvPicPr>
        <p:blipFill>
          <a:blip r:embed="rId3"/>
          <a:stretch>
            <a:fillRect/>
          </a:stretch>
        </p:blipFill>
        <p:spPr>
          <a:xfrm>
            <a:off x="3794867" y="1592262"/>
            <a:ext cx="4846740" cy="484674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7083257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 the developers</a:t>
            </a:r>
            <a:endParaRPr lang="en-US" dirty="0">
              <a:solidFill>
                <a:schemeClr val="accent3"/>
              </a:solidFill>
            </a:endParaRPr>
          </a:p>
        </p:txBody>
      </p:sp>
      <p:sp>
        <p:nvSpPr>
          <p:cNvPr id="6" name="Freeform 8">
            <a:extLst>
              <a:ext uri="{FF2B5EF4-FFF2-40B4-BE49-F238E27FC236}">
                <a16:creationId xmlns:a16="http://schemas.microsoft.com/office/drawing/2014/main" id="{2989B54F-95AA-4B2B-A496-AE45FDEFCD44}"/>
              </a:ext>
            </a:extLst>
          </p:cNvPr>
          <p:cNvSpPr/>
          <p:nvPr/>
        </p:nvSpPr>
        <p:spPr>
          <a:xfrm>
            <a:off x="799815" y="1441160"/>
            <a:ext cx="11057222" cy="575557"/>
          </a:xfrm>
          <a:custGeom>
            <a:avLst/>
            <a:gdLst>
              <a:gd name="connsiteX0" fmla="*/ 0 w 10091253"/>
              <a:gd name="connsiteY0" fmla="*/ 95942 h 575639"/>
              <a:gd name="connsiteX1" fmla="*/ 95942 w 10091253"/>
              <a:gd name="connsiteY1" fmla="*/ 0 h 575639"/>
              <a:gd name="connsiteX2" fmla="*/ 9995311 w 10091253"/>
              <a:gd name="connsiteY2" fmla="*/ 0 h 575639"/>
              <a:gd name="connsiteX3" fmla="*/ 10091253 w 10091253"/>
              <a:gd name="connsiteY3" fmla="*/ 95942 h 575639"/>
              <a:gd name="connsiteX4" fmla="*/ 10091253 w 10091253"/>
              <a:gd name="connsiteY4" fmla="*/ 479697 h 575639"/>
              <a:gd name="connsiteX5" fmla="*/ 9995311 w 10091253"/>
              <a:gd name="connsiteY5" fmla="*/ 575639 h 575639"/>
              <a:gd name="connsiteX6" fmla="*/ 95942 w 10091253"/>
              <a:gd name="connsiteY6" fmla="*/ 575639 h 575639"/>
              <a:gd name="connsiteX7" fmla="*/ 0 w 10091253"/>
              <a:gd name="connsiteY7" fmla="*/ 479697 h 575639"/>
              <a:gd name="connsiteX8" fmla="*/ 0 w 10091253"/>
              <a:gd name="connsiteY8" fmla="*/ 95942 h 57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1253" h="575639">
                <a:moveTo>
                  <a:pt x="0" y="95942"/>
                </a:moveTo>
                <a:cubicBezTo>
                  <a:pt x="0" y="42955"/>
                  <a:pt x="42955" y="0"/>
                  <a:pt x="95942" y="0"/>
                </a:cubicBezTo>
                <a:lnTo>
                  <a:pt x="9995311" y="0"/>
                </a:lnTo>
                <a:cubicBezTo>
                  <a:pt x="10048298" y="0"/>
                  <a:pt x="10091253" y="42955"/>
                  <a:pt x="10091253" y="95942"/>
                </a:cubicBezTo>
                <a:lnTo>
                  <a:pt x="10091253" y="479697"/>
                </a:lnTo>
                <a:cubicBezTo>
                  <a:pt x="10091253" y="532684"/>
                  <a:pt x="10048298" y="575639"/>
                  <a:pt x="9995311" y="575639"/>
                </a:cubicBezTo>
                <a:lnTo>
                  <a:pt x="95942" y="575639"/>
                </a:lnTo>
                <a:cubicBezTo>
                  <a:pt x="42955" y="575639"/>
                  <a:pt x="0" y="532684"/>
                  <a:pt x="0" y="479697"/>
                </a:cubicBezTo>
                <a:lnTo>
                  <a:pt x="0" y="95942"/>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9523" tIns="119523" rIns="119523" bIns="119523" numCol="1" spcCol="1270" anchor="ctr" anchorCtr="0">
            <a:noAutofit/>
          </a:bodyPr>
          <a:lstStyle/>
          <a:p>
            <a:pPr defTabSz="1066595">
              <a:lnSpc>
                <a:spcPct val="90000"/>
              </a:lnSpc>
              <a:spcBef>
                <a:spcPct val="0"/>
              </a:spcBef>
              <a:spcAft>
                <a:spcPct val="35000"/>
              </a:spcAft>
              <a:buSzPts val="2800"/>
            </a:pPr>
            <a:r>
              <a:rPr lang="en-US" sz="2800" dirty="0"/>
              <a:t>Column Encryption Setting = Enabled (.NET 4.6.1)</a:t>
            </a:r>
          </a:p>
        </p:txBody>
      </p:sp>
      <p:sp>
        <p:nvSpPr>
          <p:cNvPr id="7" name="Freeform 10">
            <a:extLst>
              <a:ext uri="{FF2B5EF4-FFF2-40B4-BE49-F238E27FC236}">
                <a16:creationId xmlns:a16="http://schemas.microsoft.com/office/drawing/2014/main" id="{CA2F77A1-E4F1-4241-818A-C475D1838282}"/>
              </a:ext>
            </a:extLst>
          </p:cNvPr>
          <p:cNvSpPr/>
          <p:nvPr/>
        </p:nvSpPr>
        <p:spPr>
          <a:xfrm>
            <a:off x="779761" y="3378905"/>
            <a:ext cx="11057222" cy="575557"/>
          </a:xfrm>
          <a:custGeom>
            <a:avLst/>
            <a:gdLst>
              <a:gd name="connsiteX0" fmla="*/ 0 w 10091253"/>
              <a:gd name="connsiteY0" fmla="*/ 95942 h 575639"/>
              <a:gd name="connsiteX1" fmla="*/ 95942 w 10091253"/>
              <a:gd name="connsiteY1" fmla="*/ 0 h 575639"/>
              <a:gd name="connsiteX2" fmla="*/ 9995311 w 10091253"/>
              <a:gd name="connsiteY2" fmla="*/ 0 h 575639"/>
              <a:gd name="connsiteX3" fmla="*/ 10091253 w 10091253"/>
              <a:gd name="connsiteY3" fmla="*/ 95942 h 575639"/>
              <a:gd name="connsiteX4" fmla="*/ 10091253 w 10091253"/>
              <a:gd name="connsiteY4" fmla="*/ 479697 h 575639"/>
              <a:gd name="connsiteX5" fmla="*/ 9995311 w 10091253"/>
              <a:gd name="connsiteY5" fmla="*/ 575639 h 575639"/>
              <a:gd name="connsiteX6" fmla="*/ 95942 w 10091253"/>
              <a:gd name="connsiteY6" fmla="*/ 575639 h 575639"/>
              <a:gd name="connsiteX7" fmla="*/ 0 w 10091253"/>
              <a:gd name="connsiteY7" fmla="*/ 479697 h 575639"/>
              <a:gd name="connsiteX8" fmla="*/ 0 w 10091253"/>
              <a:gd name="connsiteY8" fmla="*/ 95942 h 57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1253" h="575639">
                <a:moveTo>
                  <a:pt x="0" y="95942"/>
                </a:moveTo>
                <a:cubicBezTo>
                  <a:pt x="0" y="42955"/>
                  <a:pt x="42955" y="0"/>
                  <a:pt x="95942" y="0"/>
                </a:cubicBezTo>
                <a:lnTo>
                  <a:pt x="9995311" y="0"/>
                </a:lnTo>
                <a:cubicBezTo>
                  <a:pt x="10048298" y="0"/>
                  <a:pt x="10091253" y="42955"/>
                  <a:pt x="10091253" y="95942"/>
                </a:cubicBezTo>
                <a:lnTo>
                  <a:pt x="10091253" y="479697"/>
                </a:lnTo>
                <a:cubicBezTo>
                  <a:pt x="10091253" y="532684"/>
                  <a:pt x="10048298" y="575639"/>
                  <a:pt x="9995311" y="575639"/>
                </a:cubicBezTo>
                <a:lnTo>
                  <a:pt x="95942" y="575639"/>
                </a:lnTo>
                <a:cubicBezTo>
                  <a:pt x="42955" y="575639"/>
                  <a:pt x="0" y="532684"/>
                  <a:pt x="0" y="479697"/>
                </a:cubicBezTo>
                <a:lnTo>
                  <a:pt x="0" y="95942"/>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9523" tIns="119523" rIns="119523" bIns="119523" numCol="1" spcCol="1270" anchor="ctr" anchorCtr="0">
            <a:noAutofit/>
          </a:bodyPr>
          <a:lstStyle/>
          <a:p>
            <a:pPr defTabSz="1066595">
              <a:lnSpc>
                <a:spcPct val="90000"/>
              </a:lnSpc>
              <a:spcBef>
                <a:spcPct val="0"/>
              </a:spcBef>
              <a:spcAft>
                <a:spcPct val="35000"/>
              </a:spcAft>
              <a:buSzPts val="2800"/>
            </a:pPr>
            <a:r>
              <a:rPr lang="en-US" sz="2800" dirty="0"/>
              <a:t>Driver Level Parameters</a:t>
            </a:r>
          </a:p>
        </p:txBody>
      </p:sp>
      <p:sp>
        <p:nvSpPr>
          <p:cNvPr id="8" name="Freeform 11">
            <a:extLst>
              <a:ext uri="{FF2B5EF4-FFF2-40B4-BE49-F238E27FC236}">
                <a16:creationId xmlns:a16="http://schemas.microsoft.com/office/drawing/2014/main" id="{90B5EA86-2CF4-4D11-A2E2-C3F65EBC153B}"/>
              </a:ext>
            </a:extLst>
          </p:cNvPr>
          <p:cNvSpPr/>
          <p:nvPr/>
        </p:nvSpPr>
        <p:spPr>
          <a:xfrm>
            <a:off x="779761" y="4156974"/>
            <a:ext cx="10089822" cy="1316333"/>
          </a:xfrm>
          <a:custGeom>
            <a:avLst/>
            <a:gdLst>
              <a:gd name="connsiteX0" fmla="*/ 0 w 10091253"/>
              <a:gd name="connsiteY0" fmla="*/ 0 h 1316520"/>
              <a:gd name="connsiteX1" fmla="*/ 10091253 w 10091253"/>
              <a:gd name="connsiteY1" fmla="*/ 0 h 1316520"/>
              <a:gd name="connsiteX2" fmla="*/ 10091253 w 10091253"/>
              <a:gd name="connsiteY2" fmla="*/ 1316520 h 1316520"/>
              <a:gd name="connsiteX3" fmla="*/ 0 w 10091253"/>
              <a:gd name="connsiteY3" fmla="*/ 1316520 h 1316520"/>
              <a:gd name="connsiteX4" fmla="*/ 0 w 10091253"/>
              <a:gd name="connsiteY4" fmla="*/ 0 h 1316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91253" h="1316520">
                <a:moveTo>
                  <a:pt x="0" y="0"/>
                </a:moveTo>
                <a:lnTo>
                  <a:pt x="10091253" y="0"/>
                </a:lnTo>
                <a:lnTo>
                  <a:pt x="10091253" y="1316520"/>
                </a:lnTo>
                <a:lnTo>
                  <a:pt x="0" y="1316520"/>
                </a:lnTo>
                <a:lnTo>
                  <a:pt x="0" y="0"/>
                </a:lnTo>
                <a:close/>
              </a:path>
            </a:pathLst>
          </a:custGeom>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20352" tIns="30476" rIns="170664" bIns="30476" numCol="1" spcCol="1270" anchor="t" anchorCtr="0">
            <a:noAutofit/>
          </a:bodyPr>
          <a:lstStyle/>
          <a:p>
            <a:pPr marL="171417" lvl="1" indent="-171417" defTabSz="844387">
              <a:lnSpc>
                <a:spcPct val="90000"/>
              </a:lnSpc>
              <a:spcBef>
                <a:spcPct val="0"/>
              </a:spcBef>
              <a:spcAft>
                <a:spcPct val="20000"/>
              </a:spcAft>
              <a:buChar char="•"/>
            </a:pPr>
            <a:endParaRPr lang="en-US" sz="1900" dirty="0"/>
          </a:p>
        </p:txBody>
      </p:sp>
      <p:sp>
        <p:nvSpPr>
          <p:cNvPr id="9" name="Rectangle 1">
            <a:extLst>
              <a:ext uri="{FF2B5EF4-FFF2-40B4-BE49-F238E27FC236}">
                <a16:creationId xmlns:a16="http://schemas.microsoft.com/office/drawing/2014/main" id="{8DE25A6D-70AF-4106-94C2-60755866852C}"/>
              </a:ext>
            </a:extLst>
          </p:cNvPr>
          <p:cNvSpPr>
            <a:spLocks noChangeArrowheads="1"/>
          </p:cNvSpPr>
          <p:nvPr/>
        </p:nvSpPr>
        <p:spPr bwMode="auto">
          <a:xfrm>
            <a:off x="1023619" y="2098367"/>
            <a:ext cx="10647222" cy="12464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sz="1428" dirty="0">
                <a:solidFill>
                  <a:srgbClr val="0000FF"/>
                </a:solidFill>
                <a:highlight>
                  <a:srgbClr val="FFFFFF"/>
                </a:highlight>
                <a:latin typeface="Consolas" panose="020B0609020204030204" pitchFamily="49" charset="0"/>
              </a:rPr>
              <a:t>S</a:t>
            </a:r>
            <a:r>
              <a:rPr lang="en-US" dirty="0">
                <a:solidFill>
                  <a:srgbClr val="0000FF"/>
                </a:solidFill>
                <a:highlight>
                  <a:srgbClr val="FFFFFF"/>
                </a:highlight>
                <a:latin typeface="Consolas" panose="020B0609020204030204" pitchFamily="49" charset="0"/>
              </a:rPr>
              <a:t>tring</a:t>
            </a:r>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connString</a:t>
            </a:r>
            <a:r>
              <a:rPr lang="en-US" dirty="0">
                <a:solidFill>
                  <a:srgbClr val="000000"/>
                </a:solidFill>
                <a:highlight>
                  <a:srgbClr val="FFFFFF"/>
                </a:highlight>
                <a:latin typeface="Consolas" panose="020B0609020204030204" pitchFamily="49" charset="0"/>
              </a:rPr>
              <a:t> = </a:t>
            </a:r>
            <a:r>
              <a:rPr lang="en-US" dirty="0">
                <a:solidFill>
                  <a:srgbClr val="A31515"/>
                </a:solidFill>
                <a:highlight>
                  <a:srgbClr val="FFFFFF"/>
                </a:highlight>
                <a:latin typeface="Consolas" panose="020B0609020204030204" pitchFamily="49" charset="0"/>
              </a:rPr>
              <a:t>"Data Source=srv16; Integrated Security=true; </a:t>
            </a:r>
            <a:r>
              <a:rPr lang="en-US" b="1" dirty="0">
                <a:solidFill>
                  <a:srgbClr val="A31515"/>
                </a:solidFill>
                <a:highlight>
                  <a:srgbClr val="FFFFFF"/>
                </a:highlight>
                <a:latin typeface="Consolas" panose="020B0609020204030204" pitchFamily="49" charset="0"/>
              </a:rPr>
              <a:t>Column Encryption Setting=enabled</a:t>
            </a:r>
            <a:r>
              <a:rPr lang="en-US" dirty="0">
                <a:solidFill>
                  <a:srgbClr val="A31515"/>
                </a:solidFill>
                <a:highlight>
                  <a:srgbClr val="FFFFFF"/>
                </a:highlight>
                <a:latin typeface="Consolas" panose="020B0609020204030204" pitchFamily="49" charset="0"/>
              </a:rPr>
              <a:t>"</a:t>
            </a:r>
            <a:r>
              <a:rPr lang="en-US" dirty="0">
                <a:solidFill>
                  <a:srgbClr val="000000"/>
                </a:solidFill>
                <a:highlight>
                  <a:srgbClr val="FFFFFF"/>
                </a:highlight>
                <a:latin typeface="Consolas" panose="020B0609020204030204" pitchFamily="49" charset="0"/>
              </a:rPr>
              <a:t>;</a:t>
            </a:r>
          </a:p>
          <a:p>
            <a:r>
              <a:rPr lang="en-US" altLang="en-US" dirty="0">
                <a:solidFill>
                  <a:srgbClr val="0000FF"/>
                </a:solidFill>
                <a:latin typeface="Consolas" panose="020B0609020204030204" pitchFamily="49" charset="0"/>
              </a:rPr>
              <a:t>    using</a:t>
            </a:r>
            <a:r>
              <a:rPr lang="en-US" altLang="en-US" dirty="0">
                <a:solidFill>
                  <a:srgbClr val="000000"/>
                </a:solidFill>
                <a:latin typeface="Consolas" panose="020B0609020204030204" pitchFamily="49" charset="0"/>
              </a:rPr>
              <a:t> (</a:t>
            </a:r>
            <a:r>
              <a:rPr lang="en-US" altLang="en-US" dirty="0" err="1">
                <a:solidFill>
                  <a:srgbClr val="000000"/>
                </a:solidFill>
                <a:latin typeface="Consolas" panose="020B0609020204030204" pitchFamily="49" charset="0"/>
              </a:rPr>
              <a:t>SqlConnection</a:t>
            </a:r>
            <a:r>
              <a:rPr lang="en-US" altLang="en-US" dirty="0">
                <a:solidFill>
                  <a:srgbClr val="000000"/>
                </a:solidFill>
                <a:latin typeface="Consolas" panose="020B0609020204030204" pitchFamily="49" charset="0"/>
              </a:rPr>
              <a:t> connection = </a:t>
            </a:r>
            <a:r>
              <a:rPr lang="en-US" altLang="en-US" dirty="0">
                <a:solidFill>
                  <a:srgbClr val="0000FF"/>
                </a:solidFill>
                <a:latin typeface="Consolas" panose="020B0609020204030204" pitchFamily="49" charset="0"/>
              </a:rPr>
              <a:t>new</a:t>
            </a:r>
            <a:r>
              <a:rPr lang="en-US" altLang="en-US" dirty="0">
                <a:solidFill>
                  <a:srgbClr val="000000"/>
                </a:solidFill>
                <a:latin typeface="Consolas" panose="020B0609020204030204" pitchFamily="49" charset="0"/>
              </a:rPr>
              <a:t> </a:t>
            </a:r>
            <a:r>
              <a:rPr lang="en-US" altLang="en-US" dirty="0" err="1">
                <a:solidFill>
                  <a:srgbClr val="000000"/>
                </a:solidFill>
                <a:latin typeface="Consolas" panose="020B0609020204030204" pitchFamily="49" charset="0"/>
              </a:rPr>
              <a:t>SqlConnection</a:t>
            </a:r>
            <a:r>
              <a:rPr lang="en-US" altLang="en-US" dirty="0">
                <a:solidFill>
                  <a:srgbClr val="000000"/>
                </a:solidFill>
                <a:latin typeface="Consolas" panose="020B0609020204030204" pitchFamily="49" charset="0"/>
              </a:rPr>
              <a:t>(</a:t>
            </a:r>
            <a:r>
              <a:rPr lang="en-US" altLang="en-US" dirty="0" err="1">
                <a:solidFill>
                  <a:srgbClr val="000000"/>
                </a:solidFill>
                <a:latin typeface="Consolas" panose="020B0609020204030204" pitchFamily="49" charset="0"/>
              </a:rPr>
              <a:t>connectionString</a:t>
            </a:r>
            <a:r>
              <a:rPr lang="en-US" altLang="en-US" dirty="0">
                <a:solidFill>
                  <a:srgbClr val="000000"/>
                </a:solidFill>
                <a:latin typeface="Consolas" panose="020B0609020204030204" pitchFamily="49" charset="0"/>
              </a:rPr>
              <a:t>))</a:t>
            </a:r>
          </a:p>
          <a:p>
            <a:r>
              <a:rPr lang="en-US" altLang="en-US" dirty="0">
                <a:solidFill>
                  <a:srgbClr val="000000"/>
                </a:solidFill>
                <a:latin typeface="Consolas" panose="020B0609020204030204" pitchFamily="49" charset="0"/>
              </a:rPr>
              <a:t>	{ </a:t>
            </a:r>
            <a:r>
              <a:rPr lang="en-US" altLang="en-US" dirty="0">
                <a:solidFill>
                  <a:srgbClr val="008000"/>
                </a:solidFill>
                <a:latin typeface="Consolas" panose="020B0609020204030204" pitchFamily="49" charset="0"/>
              </a:rPr>
              <a:t>//...</a:t>
            </a:r>
            <a:r>
              <a:rPr lang="en-US" altLang="en-US" dirty="0">
                <a:solidFill>
                  <a:srgbClr val="000000"/>
                </a:solidFill>
                <a:latin typeface="Consolas" panose="020B0609020204030204" pitchFamily="49" charset="0"/>
              </a:rPr>
              <a:t> }</a:t>
            </a:r>
            <a:r>
              <a:rPr lang="en-US" altLang="en-US" dirty="0">
                <a:latin typeface="Consolas" panose="020B0609020204030204" pitchFamily="49" charset="0"/>
              </a:rPr>
              <a:t> </a:t>
            </a:r>
            <a:r>
              <a:rPr lang="en-US" altLang="en-US" dirty="0">
                <a:solidFill>
                  <a:srgbClr val="000000"/>
                </a:solidFill>
                <a:latin typeface="Consolas" panose="020B0609020204030204" pitchFamily="49" charset="0"/>
              </a:rPr>
              <a:t> </a:t>
            </a:r>
          </a:p>
          <a:p>
            <a:endParaRPr lang="en-US" altLang="en-US" sz="900" dirty="0">
              <a:solidFill>
                <a:srgbClr val="000000"/>
              </a:solidFill>
              <a:latin typeface="Consolas" panose="020B0609020204030204" pitchFamily="49" charset="0"/>
            </a:endParaRPr>
          </a:p>
        </p:txBody>
      </p:sp>
      <p:sp>
        <p:nvSpPr>
          <p:cNvPr id="10" name="Rectangle 7">
            <a:extLst>
              <a:ext uri="{FF2B5EF4-FFF2-40B4-BE49-F238E27FC236}">
                <a16:creationId xmlns:a16="http://schemas.microsoft.com/office/drawing/2014/main" id="{3C7EF57E-845A-4AE5-A3D7-871705228C21}"/>
              </a:ext>
            </a:extLst>
          </p:cNvPr>
          <p:cNvSpPr>
            <a:spLocks noChangeArrowheads="1"/>
          </p:cNvSpPr>
          <p:nvPr/>
        </p:nvSpPr>
        <p:spPr bwMode="auto">
          <a:xfrm>
            <a:off x="1023619" y="4100671"/>
            <a:ext cx="10647221" cy="22159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914224" eaLnBrk="0" fontAlgn="base" hangingPunct="0">
              <a:spcBef>
                <a:spcPct val="0"/>
              </a:spcBef>
              <a:spcAft>
                <a:spcPct val="0"/>
              </a:spcAft>
            </a:pPr>
            <a:r>
              <a:rPr lang="en-US" altLang="en-US" sz="1600" dirty="0">
                <a:solidFill>
                  <a:srgbClr val="0000FF"/>
                </a:solidFill>
                <a:latin typeface="Consolas" panose="020B0609020204030204" pitchFamily="49" charset="0"/>
              </a:rPr>
              <a:t>using</a:t>
            </a:r>
            <a:r>
              <a:rPr lang="en-US" altLang="en-US" sz="1600" dirty="0">
                <a:solidFill>
                  <a:srgbClr val="000000"/>
                </a:solidFill>
                <a:latin typeface="Consolas" panose="020B0609020204030204" pitchFamily="49" charset="0"/>
              </a:rPr>
              <a:t> (</a:t>
            </a:r>
            <a:r>
              <a:rPr lang="en-US" altLang="en-US" sz="1600" dirty="0" err="1">
                <a:solidFill>
                  <a:srgbClr val="000000"/>
                </a:solidFill>
                <a:latin typeface="Consolas" panose="020B0609020204030204" pitchFamily="49" charset="0"/>
              </a:rPr>
              <a:t>SqlCommand</a:t>
            </a:r>
            <a:r>
              <a:rPr lang="en-US" altLang="en-US" sz="1600" dirty="0">
                <a:solidFill>
                  <a:srgbClr val="000000"/>
                </a:solidFill>
                <a:latin typeface="Consolas" panose="020B0609020204030204" pitchFamily="49" charset="0"/>
              </a:rPr>
              <a:t> </a:t>
            </a:r>
            <a:r>
              <a:rPr lang="en-US" altLang="en-US" sz="1600" dirty="0" err="1">
                <a:solidFill>
                  <a:srgbClr val="000000"/>
                </a:solidFill>
                <a:latin typeface="Consolas" panose="020B0609020204030204" pitchFamily="49" charset="0"/>
              </a:rPr>
              <a:t>cmd</a:t>
            </a:r>
            <a:r>
              <a:rPr lang="en-US" altLang="en-US" sz="1600" dirty="0">
                <a:solidFill>
                  <a:srgbClr val="000000"/>
                </a:solidFill>
                <a:latin typeface="Consolas" panose="020B0609020204030204" pitchFamily="49" charset="0"/>
              </a:rPr>
              <a:t> = </a:t>
            </a:r>
            <a:r>
              <a:rPr lang="en-US" altLang="en-US" sz="1600" dirty="0">
                <a:solidFill>
                  <a:srgbClr val="0000FF"/>
                </a:solidFill>
                <a:latin typeface="Consolas" panose="020B0609020204030204" pitchFamily="49" charset="0"/>
              </a:rPr>
              <a:t>new</a:t>
            </a:r>
            <a:r>
              <a:rPr lang="en-US" altLang="en-US" sz="1600" dirty="0">
                <a:solidFill>
                  <a:srgbClr val="000000"/>
                </a:solidFill>
                <a:latin typeface="Consolas" panose="020B0609020204030204" pitchFamily="49" charset="0"/>
              </a:rPr>
              <a:t> </a:t>
            </a:r>
            <a:r>
              <a:rPr lang="en-US" altLang="en-US" sz="1600" dirty="0" err="1">
                <a:solidFill>
                  <a:srgbClr val="000000"/>
                </a:solidFill>
                <a:latin typeface="Consolas" panose="020B0609020204030204" pitchFamily="49" charset="0"/>
              </a:rPr>
              <a:t>SqlCommand</a:t>
            </a:r>
            <a:r>
              <a:rPr lang="en-US" altLang="en-US" sz="1600" dirty="0">
                <a:solidFill>
                  <a:srgbClr val="000000"/>
                </a:solidFill>
                <a:latin typeface="Consolas" panose="020B0609020204030204" pitchFamily="49" charset="0"/>
              </a:rPr>
              <a:t>(</a:t>
            </a:r>
            <a:r>
              <a:rPr lang="en-US" altLang="en-US" sz="1600" dirty="0">
                <a:solidFill>
                  <a:srgbClr val="A31515"/>
                </a:solidFill>
                <a:latin typeface="Consolas" panose="020B0609020204030204" pitchFamily="49" charset="0"/>
              </a:rPr>
              <a:t>"SELECT Name FROM Customers WHERE </a:t>
            </a:r>
            <a:r>
              <a:rPr lang="en-US" altLang="en-US" sz="1600" dirty="0" err="1">
                <a:solidFill>
                  <a:srgbClr val="A31515"/>
                </a:solidFill>
                <a:latin typeface="Consolas" panose="020B0609020204030204" pitchFamily="49" charset="0"/>
              </a:rPr>
              <a:t>PersonalId</a:t>
            </a:r>
            <a:r>
              <a:rPr lang="en-US" altLang="en-US" sz="1600" dirty="0">
                <a:solidFill>
                  <a:srgbClr val="A31515"/>
                </a:solidFill>
                <a:latin typeface="Consolas" panose="020B0609020204030204" pitchFamily="49" charset="0"/>
              </a:rPr>
              <a:t> = @</a:t>
            </a:r>
            <a:r>
              <a:rPr lang="en-US" altLang="en-US" sz="1600" dirty="0" err="1">
                <a:solidFill>
                  <a:srgbClr val="A31515"/>
                </a:solidFill>
                <a:latin typeface="Consolas" panose="020B0609020204030204" pitchFamily="49" charset="0"/>
              </a:rPr>
              <a:t>PersonalId</a:t>
            </a:r>
            <a:r>
              <a:rPr lang="en-US" altLang="en-US" sz="1600" dirty="0">
                <a:solidFill>
                  <a:srgbClr val="A31515"/>
                </a:solidFill>
                <a:latin typeface="Consolas" panose="020B0609020204030204" pitchFamily="49" charset="0"/>
              </a:rPr>
              <a:t>"</a:t>
            </a:r>
            <a:r>
              <a:rPr lang="en-US" altLang="en-US" sz="1600" dirty="0">
                <a:solidFill>
                  <a:srgbClr val="000000"/>
                </a:solidFill>
                <a:latin typeface="Consolas" panose="020B0609020204030204" pitchFamily="49" charset="0"/>
              </a:rPr>
              <a:t>, connection)) </a:t>
            </a:r>
          </a:p>
          <a:p>
            <a:pPr defTabSz="914224" eaLnBrk="0" fontAlgn="base" hangingPunct="0">
              <a:spcBef>
                <a:spcPct val="0"/>
              </a:spcBef>
              <a:spcAft>
                <a:spcPct val="0"/>
              </a:spcAft>
            </a:pPr>
            <a:r>
              <a:rPr lang="en-US" altLang="en-US" sz="1600" dirty="0">
                <a:solidFill>
                  <a:srgbClr val="000000"/>
                </a:solidFill>
                <a:latin typeface="Consolas" panose="020B0609020204030204" pitchFamily="49" charset="0"/>
              </a:rPr>
              <a:t>    { </a:t>
            </a:r>
          </a:p>
          <a:p>
            <a:pPr defTabSz="914224" eaLnBrk="0" fontAlgn="base" hangingPunct="0">
              <a:spcBef>
                <a:spcPct val="0"/>
              </a:spcBef>
              <a:spcAft>
                <a:spcPct val="0"/>
              </a:spcAft>
            </a:pPr>
            <a:r>
              <a:rPr lang="en-US" altLang="en-US" sz="1600" dirty="0">
                <a:solidFill>
                  <a:srgbClr val="000000"/>
                </a:solidFill>
                <a:latin typeface="Consolas" panose="020B0609020204030204" pitchFamily="49" charset="0"/>
              </a:rPr>
              <a:t>	SqlParameter </a:t>
            </a:r>
            <a:r>
              <a:rPr lang="en-US" altLang="en-US" sz="1600" dirty="0" err="1">
                <a:solidFill>
                  <a:srgbClr val="000000"/>
                </a:solidFill>
                <a:latin typeface="Consolas" panose="020B0609020204030204" pitchFamily="49" charset="0"/>
              </a:rPr>
              <a:t>PersonalId</a:t>
            </a:r>
            <a:r>
              <a:rPr lang="en-US" altLang="en-US" sz="1600" dirty="0">
                <a:solidFill>
                  <a:srgbClr val="000000"/>
                </a:solidFill>
                <a:latin typeface="Consolas" panose="020B0609020204030204" pitchFamily="49" charset="0"/>
              </a:rPr>
              <a:t> = </a:t>
            </a:r>
            <a:r>
              <a:rPr lang="en-US" altLang="en-US" sz="1600" dirty="0">
                <a:solidFill>
                  <a:srgbClr val="0000FF"/>
                </a:solidFill>
                <a:latin typeface="Consolas" panose="020B0609020204030204" pitchFamily="49" charset="0"/>
              </a:rPr>
              <a:t>new</a:t>
            </a:r>
            <a:r>
              <a:rPr lang="en-US" altLang="en-US" sz="1600" dirty="0">
                <a:solidFill>
                  <a:srgbClr val="000000"/>
                </a:solidFill>
                <a:latin typeface="Consolas" panose="020B0609020204030204" pitchFamily="49" charset="0"/>
              </a:rPr>
              <a:t> </a:t>
            </a:r>
            <a:r>
              <a:rPr lang="en-US" altLang="en-US" sz="1600" b="1" dirty="0">
                <a:solidFill>
                  <a:srgbClr val="000000"/>
                </a:solidFill>
                <a:latin typeface="Consolas" panose="020B0609020204030204" pitchFamily="49" charset="0"/>
              </a:rPr>
              <a:t>SqlParameter</a:t>
            </a:r>
            <a:r>
              <a:rPr lang="en-US" altLang="en-US" sz="1600" dirty="0">
                <a:solidFill>
                  <a:srgbClr val="000000"/>
                </a:solidFill>
                <a:latin typeface="Consolas" panose="020B0609020204030204" pitchFamily="49" charset="0"/>
              </a:rPr>
              <a:t>(</a:t>
            </a:r>
            <a:r>
              <a:rPr lang="en-US" altLang="en-US" sz="1600" dirty="0">
                <a:solidFill>
                  <a:srgbClr val="A31515"/>
                </a:solidFill>
                <a:latin typeface="Consolas" panose="020B0609020204030204" pitchFamily="49" charset="0"/>
              </a:rPr>
              <a:t>"@</a:t>
            </a:r>
            <a:r>
              <a:rPr lang="en-US" altLang="en-US" sz="1600" dirty="0" err="1">
                <a:solidFill>
                  <a:srgbClr val="A31515"/>
                </a:solidFill>
                <a:latin typeface="Consolas" panose="020B0609020204030204" pitchFamily="49" charset="0"/>
              </a:rPr>
              <a:t>PersonalId</a:t>
            </a:r>
            <a:r>
              <a:rPr lang="en-US" altLang="en-US" sz="1600" dirty="0">
                <a:solidFill>
                  <a:srgbClr val="A31515"/>
                </a:solidFill>
                <a:latin typeface="Consolas" panose="020B0609020204030204" pitchFamily="49" charset="0"/>
              </a:rPr>
              <a:t>"</a:t>
            </a:r>
            <a:r>
              <a:rPr lang="en-US" altLang="en-US" sz="1600" dirty="0">
                <a:solidFill>
                  <a:srgbClr val="000000"/>
                </a:solidFill>
                <a:latin typeface="Consolas" panose="020B0609020204030204" pitchFamily="49" charset="0"/>
              </a:rPr>
              <a:t>, </a:t>
            </a:r>
            <a:r>
              <a:rPr lang="en-US" altLang="en-US" sz="1600" dirty="0" err="1">
                <a:solidFill>
                  <a:srgbClr val="000000"/>
                </a:solidFill>
                <a:latin typeface="Consolas" panose="020B0609020204030204" pitchFamily="49" charset="0"/>
              </a:rPr>
              <a:t>System.Data.SqlDbType.VarChar</a:t>
            </a:r>
            <a:r>
              <a:rPr lang="en-US" altLang="en-US" sz="1600" dirty="0">
                <a:solidFill>
                  <a:srgbClr val="000000"/>
                </a:solidFill>
                <a:latin typeface="Consolas" panose="020B0609020204030204" pitchFamily="49" charset="0"/>
              </a:rPr>
              <a:t>, 11); </a:t>
            </a:r>
          </a:p>
          <a:p>
            <a:pPr defTabSz="914224" eaLnBrk="0" fontAlgn="base" hangingPunct="0">
              <a:spcBef>
                <a:spcPct val="0"/>
              </a:spcBef>
              <a:spcAft>
                <a:spcPct val="0"/>
              </a:spcAft>
            </a:pPr>
            <a:r>
              <a:rPr lang="en-US" altLang="en-US" sz="1600" dirty="0">
                <a:solidFill>
                  <a:srgbClr val="000000"/>
                </a:solidFill>
                <a:latin typeface="Consolas" panose="020B0609020204030204" pitchFamily="49" charset="0"/>
              </a:rPr>
              <a:t>	</a:t>
            </a:r>
            <a:r>
              <a:rPr lang="en-US" altLang="en-US" sz="1600" dirty="0" err="1">
                <a:solidFill>
                  <a:srgbClr val="000000"/>
                </a:solidFill>
                <a:latin typeface="Consolas" panose="020B0609020204030204" pitchFamily="49" charset="0"/>
              </a:rPr>
              <a:t>PersonalId.Value</a:t>
            </a:r>
            <a:r>
              <a:rPr lang="en-US" altLang="en-US" sz="1600" dirty="0">
                <a:solidFill>
                  <a:srgbClr val="000000"/>
                </a:solidFill>
                <a:latin typeface="Consolas" panose="020B0609020204030204" pitchFamily="49" charset="0"/>
              </a:rPr>
              <a:t> = </a:t>
            </a:r>
            <a:r>
              <a:rPr lang="en-US" altLang="en-US" sz="1600" dirty="0">
                <a:solidFill>
                  <a:srgbClr val="A31515"/>
                </a:solidFill>
                <a:latin typeface="Consolas" panose="020B0609020204030204" pitchFamily="49" charset="0"/>
              </a:rPr>
              <a:t>"111-22-3333"</a:t>
            </a:r>
            <a:r>
              <a:rPr lang="en-US" altLang="en-US" sz="1600" dirty="0">
                <a:solidFill>
                  <a:srgbClr val="000000"/>
                </a:solidFill>
                <a:latin typeface="Consolas" panose="020B0609020204030204" pitchFamily="49" charset="0"/>
              </a:rPr>
              <a:t>; </a:t>
            </a:r>
          </a:p>
          <a:p>
            <a:pPr defTabSz="914224" eaLnBrk="0" fontAlgn="base" hangingPunct="0">
              <a:spcBef>
                <a:spcPct val="0"/>
              </a:spcBef>
              <a:spcAft>
                <a:spcPct val="0"/>
              </a:spcAft>
            </a:pPr>
            <a:endParaRPr lang="en-US" altLang="en-US" sz="1600" dirty="0">
              <a:solidFill>
                <a:srgbClr val="000000"/>
              </a:solidFill>
              <a:latin typeface="Consolas" panose="020B0609020204030204" pitchFamily="49" charset="0"/>
            </a:endParaRPr>
          </a:p>
          <a:p>
            <a:pPr defTabSz="914224" eaLnBrk="0" fontAlgn="base" hangingPunct="0">
              <a:spcBef>
                <a:spcPct val="0"/>
              </a:spcBef>
              <a:spcAft>
                <a:spcPct val="0"/>
              </a:spcAft>
            </a:pPr>
            <a:r>
              <a:rPr lang="en-US" altLang="en-US" sz="1600" dirty="0">
                <a:solidFill>
                  <a:srgbClr val="000000"/>
                </a:solidFill>
                <a:latin typeface="Consolas" panose="020B0609020204030204" pitchFamily="49" charset="0"/>
              </a:rPr>
              <a:t>	</a:t>
            </a:r>
            <a:r>
              <a:rPr lang="en-US" altLang="en-US" sz="1600" dirty="0" err="1">
                <a:solidFill>
                  <a:srgbClr val="000000"/>
                </a:solidFill>
                <a:latin typeface="Consolas" panose="020B0609020204030204" pitchFamily="49" charset="0"/>
              </a:rPr>
              <a:t>cmd.Parameters.Add</a:t>
            </a:r>
            <a:r>
              <a:rPr lang="en-US" altLang="en-US" sz="1600" dirty="0">
                <a:solidFill>
                  <a:srgbClr val="000000"/>
                </a:solidFill>
                <a:latin typeface="Consolas" panose="020B0609020204030204" pitchFamily="49" charset="0"/>
              </a:rPr>
              <a:t>(</a:t>
            </a:r>
            <a:r>
              <a:rPr lang="en-US" altLang="en-US" sz="1600" dirty="0" err="1">
                <a:solidFill>
                  <a:srgbClr val="000000"/>
                </a:solidFill>
                <a:latin typeface="Consolas" panose="020B0609020204030204" pitchFamily="49" charset="0"/>
              </a:rPr>
              <a:t>PersonalId</a:t>
            </a:r>
            <a:r>
              <a:rPr lang="en-US" altLang="en-US" sz="1600" dirty="0">
                <a:solidFill>
                  <a:srgbClr val="000000"/>
                </a:solidFill>
                <a:latin typeface="Consolas" panose="020B0609020204030204" pitchFamily="49" charset="0"/>
              </a:rPr>
              <a:t>); </a:t>
            </a:r>
          </a:p>
          <a:p>
            <a:pPr defTabSz="914224" eaLnBrk="0" fontAlgn="base" hangingPunct="0">
              <a:spcBef>
                <a:spcPct val="0"/>
              </a:spcBef>
              <a:spcAft>
                <a:spcPct val="0"/>
              </a:spcAft>
            </a:pPr>
            <a:r>
              <a:rPr lang="en-US" altLang="en-US" sz="1600" dirty="0">
                <a:solidFill>
                  <a:srgbClr val="000000"/>
                </a:solidFill>
                <a:latin typeface="Consolas" panose="020B0609020204030204" pitchFamily="49" charset="0"/>
              </a:rPr>
              <a:t>	</a:t>
            </a:r>
            <a:r>
              <a:rPr lang="en-US" altLang="en-US" sz="1600" dirty="0" err="1">
                <a:solidFill>
                  <a:srgbClr val="000000"/>
                </a:solidFill>
                <a:latin typeface="Consolas" panose="020B0609020204030204" pitchFamily="49" charset="0"/>
              </a:rPr>
              <a:t>cmd.ExecuteReader</a:t>
            </a:r>
            <a:r>
              <a:rPr lang="en-US" altLang="en-US" sz="1600" dirty="0">
                <a:solidFill>
                  <a:srgbClr val="000000"/>
                </a:solidFill>
                <a:latin typeface="Consolas" panose="020B0609020204030204" pitchFamily="49" charset="0"/>
              </a:rPr>
              <a:t>(); }</a:t>
            </a:r>
            <a:r>
              <a:rPr lang="en-US" altLang="en-US" sz="1600" dirty="0">
                <a:latin typeface="Consolas" panose="020B0609020204030204" pitchFamily="49" charset="0"/>
              </a:rPr>
              <a:t> </a:t>
            </a:r>
          </a:p>
        </p:txBody>
      </p:sp>
    </p:spTree>
    <p:extLst>
      <p:ext uri="{BB962C8B-B14F-4D97-AF65-F5344CB8AC3E}">
        <p14:creationId xmlns:p14="http://schemas.microsoft.com/office/powerpoint/2010/main" val="6040443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Migration Scenarios</a:t>
            </a:r>
            <a:endParaRPr lang="en-US" dirty="0">
              <a:solidFill>
                <a:schemeClr val="accent3"/>
              </a:solidFill>
            </a:endParaRPr>
          </a:p>
        </p:txBody>
      </p:sp>
      <p:sp>
        <p:nvSpPr>
          <p:cNvPr id="3" name="Text Placeholder 2"/>
          <p:cNvSpPr>
            <a:spLocks noGrp="1"/>
          </p:cNvSpPr>
          <p:nvPr>
            <p:ph sz="quarter" idx="13"/>
          </p:nvPr>
        </p:nvSpPr>
        <p:spPr>
          <a:xfrm>
            <a:off x="682981" y="1464736"/>
            <a:ext cx="11319857" cy="534159"/>
          </a:xfrm>
        </p:spPr>
        <p:txBody>
          <a:bodyPr/>
          <a:lstStyle/>
          <a:p>
            <a:pPr marL="0" indent="0">
              <a:buNone/>
            </a:pPr>
            <a:r>
              <a:rPr lang="en-US" dirty="0"/>
              <a:t>Recommended settings appropriate for several migration scenarios </a:t>
            </a:r>
          </a:p>
        </p:txBody>
      </p:sp>
      <p:graphicFrame>
        <p:nvGraphicFramePr>
          <p:cNvPr id="4" name="Table 3">
            <a:extLst>
              <a:ext uri="{FF2B5EF4-FFF2-40B4-BE49-F238E27FC236}">
                <a16:creationId xmlns:a16="http://schemas.microsoft.com/office/drawing/2014/main" id="{C3710800-8D58-44F3-A095-06B219C92516}"/>
              </a:ext>
            </a:extLst>
          </p:cNvPr>
          <p:cNvGraphicFramePr>
            <a:graphicFrameLocks noGrp="1"/>
          </p:cNvGraphicFramePr>
          <p:nvPr/>
        </p:nvGraphicFramePr>
        <p:xfrm>
          <a:off x="664556" y="2182831"/>
          <a:ext cx="4395216" cy="3794623"/>
        </p:xfrm>
        <a:graphic>
          <a:graphicData uri="http://schemas.openxmlformats.org/drawingml/2006/table">
            <a:tbl>
              <a:tblPr bandRow="1">
                <a:tableStyleId>{F5AB1C69-6EDB-4FF4-983F-18BD219EF322}</a:tableStyleId>
              </a:tblPr>
              <a:tblGrid>
                <a:gridCol w="1935060">
                  <a:extLst>
                    <a:ext uri="{9D8B030D-6E8A-4147-A177-3AD203B41FA5}">
                      <a16:colId xmlns:a16="http://schemas.microsoft.com/office/drawing/2014/main" val="20000"/>
                    </a:ext>
                  </a:extLst>
                </a:gridCol>
                <a:gridCol w="1145826">
                  <a:extLst>
                    <a:ext uri="{9D8B030D-6E8A-4147-A177-3AD203B41FA5}">
                      <a16:colId xmlns:a16="http://schemas.microsoft.com/office/drawing/2014/main" val="20001"/>
                    </a:ext>
                  </a:extLst>
                </a:gridCol>
                <a:gridCol w="1314330">
                  <a:extLst>
                    <a:ext uri="{9D8B030D-6E8A-4147-A177-3AD203B41FA5}">
                      <a16:colId xmlns:a16="http://schemas.microsoft.com/office/drawing/2014/main" val="20002"/>
                    </a:ext>
                  </a:extLst>
                </a:gridCol>
              </a:tblGrid>
              <a:tr h="1190302">
                <a:tc>
                  <a:txBody>
                    <a:bodyPr/>
                    <a:lstStyle/>
                    <a:p>
                      <a:pPr algn="l"/>
                      <a:r>
                        <a:rPr lang="en-US" sz="1700" b="1" dirty="0">
                          <a:solidFill>
                            <a:schemeClr val="bg1"/>
                          </a:solidFill>
                        </a:rPr>
                        <a:t>Scenario</a:t>
                      </a:r>
                      <a:endParaRPr lang="en-US" sz="1700" b="1" dirty="0">
                        <a:solidFill>
                          <a:schemeClr val="bg1"/>
                        </a:solidFill>
                        <a:latin typeface="Segoe Pro SemiLight" panose="020B0402040204020203" pitchFamily="34" charset="0"/>
                        <a:cs typeface="Segoe UI Semibold" panose="020B0702040204020203" pitchFamily="34" charset="0"/>
                      </a:endParaRPr>
                    </a:p>
                  </a:txBody>
                  <a:tcPr marL="89629" marR="89629" marT="44815" marB="4481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a:txBody>
                    <a:bodyPr/>
                    <a:lstStyle/>
                    <a:p>
                      <a:pPr algn="l"/>
                      <a:r>
                        <a:rPr lang="en-US" sz="1800" b="1" dirty="0">
                          <a:solidFill>
                            <a:schemeClr val="bg1"/>
                          </a:solidFill>
                        </a:rPr>
                        <a:t>Source</a:t>
                      </a:r>
                    </a:p>
                    <a:p>
                      <a:pPr algn="l"/>
                      <a:r>
                        <a:rPr lang="en-US" sz="1800" b="1" dirty="0">
                          <a:solidFill>
                            <a:schemeClr val="bg1"/>
                          </a:solidFill>
                        </a:rPr>
                        <a:t>schema</a:t>
                      </a:r>
                      <a:endParaRPr lang="en-US" sz="1800" b="1" dirty="0">
                        <a:solidFill>
                          <a:schemeClr val="bg1"/>
                        </a:solidFill>
                        <a:latin typeface="Segoe Pro SemiLight" panose="020B0402040204020203" pitchFamily="34" charset="0"/>
                        <a:cs typeface="Segoe UI Semibold" panose="020B0702040204020203" pitchFamily="34" charset="0"/>
                      </a:endParaRPr>
                    </a:p>
                  </a:txBody>
                  <a:tcPr marL="89629" marR="89629" marT="44815" marB="4481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tc>
                  <a:txBody>
                    <a:bodyPr/>
                    <a:lstStyle/>
                    <a:p>
                      <a:pPr algn="l"/>
                      <a:r>
                        <a:rPr lang="en-US" sz="1800" b="1" dirty="0">
                          <a:solidFill>
                            <a:schemeClr val="bg1"/>
                          </a:solidFill>
                        </a:rPr>
                        <a:t>Target</a:t>
                      </a:r>
                    </a:p>
                    <a:p>
                      <a:pPr algn="l"/>
                      <a:r>
                        <a:rPr lang="en-US" sz="1800" b="1" dirty="0">
                          <a:solidFill>
                            <a:schemeClr val="bg1"/>
                          </a:solidFill>
                        </a:rPr>
                        <a:t>schema</a:t>
                      </a:r>
                      <a:endParaRPr lang="en-US" sz="1800" b="1" dirty="0">
                        <a:solidFill>
                          <a:schemeClr val="bg1"/>
                        </a:solidFill>
                        <a:latin typeface="Segoe Pro SemiLight" panose="020B0402040204020203" pitchFamily="34" charset="0"/>
                        <a:cs typeface="Segoe UI Semibold" panose="020B0702040204020203" pitchFamily="34" charset="0"/>
                      </a:endParaRPr>
                    </a:p>
                  </a:txBody>
                  <a:tcPr marL="89629" marR="89629" marT="44815" marB="4481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8D7"/>
                    </a:solidFill>
                  </a:tcPr>
                </a:tc>
                <a:extLst>
                  <a:ext uri="{0D108BD9-81ED-4DB2-BD59-A6C34878D82A}">
                    <a16:rowId xmlns:a16="http://schemas.microsoft.com/office/drawing/2014/main" val="10000"/>
                  </a:ext>
                </a:extLst>
              </a:tr>
              <a:tr h="642120">
                <a:tc>
                  <a:txBody>
                    <a:bodyPr/>
                    <a:lstStyle/>
                    <a:p>
                      <a:r>
                        <a:rPr lang="en-US" sz="1400" dirty="0"/>
                        <a:t>Encrypt</a:t>
                      </a:r>
                      <a:r>
                        <a:rPr lang="en-US" sz="1400" baseline="0" dirty="0"/>
                        <a:t> data on migration</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Plaintext</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Encrypt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647937">
                <a:tc>
                  <a:txBody>
                    <a:bodyPr/>
                    <a:lstStyle/>
                    <a:p>
                      <a:r>
                        <a:rPr lang="en-US" sz="1400" dirty="0"/>
                        <a:t>Decrypt data</a:t>
                      </a:r>
                      <a:r>
                        <a:rPr lang="en-US" sz="1400" baseline="0" dirty="0"/>
                        <a:t> on migration</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Encrypt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Plaintext</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661896">
                <a:tc>
                  <a:txBody>
                    <a:bodyPr/>
                    <a:lstStyle/>
                    <a:p>
                      <a:r>
                        <a:rPr lang="en-US" sz="1400" dirty="0"/>
                        <a:t>Re-encrypt</a:t>
                      </a:r>
                      <a:r>
                        <a:rPr lang="en-US" sz="1400" baseline="0" dirty="0"/>
                        <a:t> data on migration</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Encrypt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Encrypt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652368">
                <a:tc>
                  <a:txBody>
                    <a:bodyPr/>
                    <a:lstStyle/>
                    <a:p>
                      <a:r>
                        <a:rPr lang="en-US" sz="1400" dirty="0"/>
                        <a:t>Copy data without decrypting</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Encrypt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Encrypt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5" name="Table 4">
            <a:extLst>
              <a:ext uri="{FF2B5EF4-FFF2-40B4-BE49-F238E27FC236}">
                <a16:creationId xmlns:a16="http://schemas.microsoft.com/office/drawing/2014/main" id="{9D95043E-5CB5-46D0-A957-2D6A2AB47F0B}"/>
              </a:ext>
            </a:extLst>
          </p:cNvPr>
          <p:cNvGraphicFramePr>
            <a:graphicFrameLocks noGrp="1"/>
          </p:cNvGraphicFramePr>
          <p:nvPr/>
        </p:nvGraphicFramePr>
        <p:xfrm>
          <a:off x="5059772" y="2176074"/>
          <a:ext cx="6777000" cy="3802838"/>
        </p:xfrm>
        <a:graphic>
          <a:graphicData uri="http://schemas.openxmlformats.org/drawingml/2006/table">
            <a:tbl>
              <a:tblPr firstRow="1" bandRow="1">
                <a:tableStyleId>{F5AB1C69-6EDB-4FF4-983F-18BD219EF322}</a:tableStyleId>
              </a:tblPr>
              <a:tblGrid>
                <a:gridCol w="1694250">
                  <a:extLst>
                    <a:ext uri="{9D8B030D-6E8A-4147-A177-3AD203B41FA5}">
                      <a16:colId xmlns:a16="http://schemas.microsoft.com/office/drawing/2014/main" val="20000"/>
                    </a:ext>
                  </a:extLst>
                </a:gridCol>
                <a:gridCol w="1694250">
                  <a:extLst>
                    <a:ext uri="{9D8B030D-6E8A-4147-A177-3AD203B41FA5}">
                      <a16:colId xmlns:a16="http://schemas.microsoft.com/office/drawing/2014/main" val="20001"/>
                    </a:ext>
                  </a:extLst>
                </a:gridCol>
                <a:gridCol w="1694250">
                  <a:extLst>
                    <a:ext uri="{9D8B030D-6E8A-4147-A177-3AD203B41FA5}">
                      <a16:colId xmlns:a16="http://schemas.microsoft.com/office/drawing/2014/main" val="20002"/>
                    </a:ext>
                  </a:extLst>
                </a:gridCol>
                <a:gridCol w="1694250">
                  <a:extLst>
                    <a:ext uri="{9D8B030D-6E8A-4147-A177-3AD203B41FA5}">
                      <a16:colId xmlns:a16="http://schemas.microsoft.com/office/drawing/2014/main" val="20003"/>
                    </a:ext>
                  </a:extLst>
                </a:gridCol>
              </a:tblGrid>
              <a:tr h="384539">
                <a:tc gridSpan="2">
                  <a:txBody>
                    <a:bodyPr/>
                    <a:lstStyle/>
                    <a:p>
                      <a:pPr algn="l"/>
                      <a:r>
                        <a:rPr lang="en-US" sz="1700" dirty="0"/>
                        <a:t>Source settings</a:t>
                      </a:r>
                      <a:endParaRPr lang="en-US" sz="1700" b="0" dirty="0">
                        <a:latin typeface="Segoe Pro SemiLight" panose="020B0402040204020203" pitchFamily="34" charset="0"/>
                        <a:cs typeface="Segoe UI Semibold" panose="020B0702040204020203" pitchFamily="34" charset="0"/>
                      </a:endParaRPr>
                    </a:p>
                  </a:txBody>
                  <a:tcPr marL="89629" marR="89629" marT="44815" marB="448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dirty="0"/>
                    </a:p>
                  </a:txBody>
                  <a:tcPr/>
                </a:tc>
                <a:tc gridSpan="2">
                  <a:txBody>
                    <a:bodyPr/>
                    <a:lstStyle/>
                    <a:p>
                      <a:pPr algn="l"/>
                      <a:r>
                        <a:rPr lang="en-US" sz="1800" dirty="0"/>
                        <a:t>Target settings</a:t>
                      </a:r>
                      <a:endParaRPr lang="en-US" sz="1800" b="0" dirty="0">
                        <a:latin typeface="Segoe Pro SemiLight" panose="020B0402040204020203" pitchFamily="34" charset="0"/>
                        <a:cs typeface="Segoe UI Semibold" panose="020B0702040204020203" pitchFamily="34" charset="0"/>
                      </a:endParaRPr>
                    </a:p>
                  </a:txBody>
                  <a:tcPr marL="89629" marR="89629" marT="44815" marB="448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dirty="0"/>
                    </a:p>
                  </a:txBody>
                  <a:tcPr/>
                </a:tc>
                <a:extLst>
                  <a:ext uri="{0D108BD9-81ED-4DB2-BD59-A6C34878D82A}">
                    <a16:rowId xmlns:a16="http://schemas.microsoft.com/office/drawing/2014/main" val="10000"/>
                  </a:ext>
                </a:extLst>
              </a:tr>
              <a:tr h="832081">
                <a:tc>
                  <a:txBody>
                    <a:bodyPr/>
                    <a:lstStyle/>
                    <a:p>
                      <a:r>
                        <a:rPr lang="en-US" sz="1400" dirty="0"/>
                        <a:t>Column encryption</a:t>
                      </a:r>
                      <a:r>
                        <a:rPr lang="en-US" sz="1400" baseline="0" dirty="0"/>
                        <a:t> setting</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Allow</a:t>
                      </a:r>
                      <a:r>
                        <a:rPr lang="en-US" sz="1400" baseline="0" dirty="0"/>
                        <a:t> encrypted values modifications</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Column</a:t>
                      </a:r>
                      <a:r>
                        <a:rPr lang="en-US" sz="1400" baseline="0" dirty="0"/>
                        <a:t> encryption setting</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Allow encrypted values</a:t>
                      </a:r>
                      <a:r>
                        <a:rPr lang="en-US" sz="1400" baseline="0" dirty="0"/>
                        <a:t> modifications</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633479">
                <a:tc>
                  <a:txBody>
                    <a:bodyPr/>
                    <a:lstStyle/>
                    <a:p>
                      <a:r>
                        <a:rPr lang="en-US" sz="1400" dirty="0"/>
                        <a:t>Any (Disabled</a:t>
                      </a:r>
                      <a:r>
                        <a:rPr lang="en-US" sz="1400" baseline="0" dirty="0"/>
                        <a:t> is recommend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N/A (OFF</a:t>
                      </a:r>
                      <a:r>
                        <a:rPr lang="en-US" sz="1400" baseline="0" dirty="0"/>
                        <a:t> </a:t>
                      </a:r>
                      <a:r>
                        <a:rPr lang="en-US" sz="1400" dirty="0"/>
                        <a:t>is recommend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Enabl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OFF</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648217">
                <a:tc>
                  <a:txBody>
                    <a:bodyPr/>
                    <a:lstStyle/>
                    <a:p>
                      <a:r>
                        <a:rPr lang="en-US" sz="1400" dirty="0"/>
                        <a:t>Enabl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N/A (OFF is recommend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N/A (Disabled</a:t>
                      </a:r>
                      <a:r>
                        <a:rPr lang="en-US" sz="1400" baseline="0" dirty="0"/>
                        <a:t> is recommend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N/A</a:t>
                      </a:r>
                      <a:r>
                        <a:rPr lang="en-US" sz="1400" baseline="0" dirty="0"/>
                        <a:t> (OFF is recommended)</a:t>
                      </a:r>
                      <a:endParaRPr lang="en-US" sz="1400" baseline="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656306">
                <a:tc>
                  <a:txBody>
                    <a:bodyPr/>
                    <a:lstStyle/>
                    <a:p>
                      <a:r>
                        <a:rPr lang="en-US" sz="1400" dirty="0"/>
                        <a:t>Enabl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N/A (OFF is recommend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Enabl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OFF</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648216">
                <a:tc>
                  <a:txBody>
                    <a:bodyPr/>
                    <a:lstStyle/>
                    <a:p>
                      <a:r>
                        <a:rPr lang="en-US" sz="1400" dirty="0"/>
                        <a:t>Disabl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N/A (OFF is recommend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Disabled</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ON</a:t>
                      </a:r>
                      <a:endParaRPr lang="en-US" sz="1400" dirty="0">
                        <a:solidFill>
                          <a:schemeClr val="bg1"/>
                        </a:solidFill>
                        <a:latin typeface="+mn-lt"/>
                      </a:endParaRPr>
                    </a:p>
                  </a:txBody>
                  <a:tcPr marL="89629" marR="89629" marT="89629" marB="896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9732679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9572" y="326411"/>
            <a:ext cx="11097332" cy="470856"/>
          </a:xfrm>
        </p:spPr>
        <p:txBody>
          <a:bodyPr wrap="square" anchor="t">
            <a:normAutofit fontScale="90000"/>
          </a:bodyPr>
          <a:lstStyle/>
          <a:p>
            <a:r>
              <a:rPr lang="en-US" dirty="0"/>
              <a:t>ALLOW_ENCRYPTED_VALUE_MODIFICATIONS</a:t>
            </a:r>
          </a:p>
        </p:txBody>
      </p:sp>
      <p:graphicFrame>
        <p:nvGraphicFramePr>
          <p:cNvPr id="12" name="Content Placeholder 11">
            <a:extLst>
              <a:ext uri="{FF2B5EF4-FFF2-40B4-BE49-F238E27FC236}">
                <a16:creationId xmlns:a16="http://schemas.microsoft.com/office/drawing/2014/main" id="{47B16F16-12FA-419E-A541-7BA3A63E2E7C}"/>
              </a:ext>
            </a:extLst>
          </p:cNvPr>
          <p:cNvGraphicFramePr>
            <a:graphicFrameLocks noGrp="1"/>
          </p:cNvGraphicFramePr>
          <p:nvPr>
            <p:ph sz="quarter" idx="13"/>
          </p:nvPr>
        </p:nvGraphicFramePr>
        <p:xfrm>
          <a:off x="669572" y="1436145"/>
          <a:ext cx="11097333"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203382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9C497DE-87CA-431D-8E1C-DD717927733A}"/>
              </a:ext>
            </a:extLst>
          </p:cNvPr>
          <p:cNvSpPr>
            <a:spLocks noGrp="1"/>
          </p:cNvSpPr>
          <p:nvPr>
            <p:ph type="title"/>
          </p:nvPr>
        </p:nvSpPr>
        <p:spPr>
          <a:xfrm>
            <a:off x="669572" y="326411"/>
            <a:ext cx="11097332" cy="470856"/>
          </a:xfrm>
        </p:spPr>
        <p:txBody>
          <a:bodyPr wrap="square" anchor="t">
            <a:normAutofit fontScale="90000"/>
          </a:bodyPr>
          <a:lstStyle/>
          <a:p>
            <a:r>
              <a:rPr lang="en-US" dirty="0"/>
              <a:t>Feature Details</a:t>
            </a:r>
          </a:p>
        </p:txBody>
      </p:sp>
      <p:graphicFrame>
        <p:nvGraphicFramePr>
          <p:cNvPr id="2" name="Content Placeholder 1">
            <a:extLst>
              <a:ext uri="{FF2B5EF4-FFF2-40B4-BE49-F238E27FC236}">
                <a16:creationId xmlns:a16="http://schemas.microsoft.com/office/drawing/2014/main" id="{53D806A3-FBA2-4BC6-8551-54C61619CD17}"/>
              </a:ext>
            </a:extLst>
          </p:cNvPr>
          <p:cNvGraphicFramePr>
            <a:graphicFrameLocks noGrp="1"/>
          </p:cNvGraphicFramePr>
          <p:nvPr>
            <p:ph sz="quarter" idx="13"/>
          </p:nvPr>
        </p:nvGraphicFramePr>
        <p:xfrm>
          <a:off x="669572" y="1436144"/>
          <a:ext cx="11097332"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63825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9572" y="326411"/>
            <a:ext cx="11097332" cy="470856"/>
          </a:xfrm>
        </p:spPr>
        <p:txBody>
          <a:bodyPr wrap="square" anchor="t">
            <a:normAutofit fontScale="90000"/>
          </a:bodyPr>
          <a:lstStyle/>
          <a:p>
            <a:r>
              <a:rPr lang="en-US" dirty="0"/>
              <a:t>Limitations</a:t>
            </a:r>
            <a:endParaRPr lang="en-US"/>
          </a:p>
        </p:txBody>
      </p:sp>
      <p:graphicFrame>
        <p:nvGraphicFramePr>
          <p:cNvPr id="5" name="Text Placeholder 2">
            <a:extLst>
              <a:ext uri="{FF2B5EF4-FFF2-40B4-BE49-F238E27FC236}">
                <a16:creationId xmlns:a16="http://schemas.microsoft.com/office/drawing/2014/main" id="{437A8105-DF17-4727-BDDA-D68545EE735C}"/>
              </a:ext>
            </a:extLst>
          </p:cNvPr>
          <p:cNvGraphicFramePr>
            <a:graphicFrameLocks noGrp="1"/>
          </p:cNvGraphicFramePr>
          <p:nvPr>
            <p:ph sz="quarter" idx="13"/>
          </p:nvPr>
        </p:nvGraphicFramePr>
        <p:xfrm>
          <a:off x="669572" y="1436145"/>
          <a:ext cx="11097333"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233757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9572" y="326411"/>
            <a:ext cx="11097332" cy="470856"/>
          </a:xfrm>
        </p:spPr>
        <p:txBody>
          <a:bodyPr wrap="square" anchor="t">
            <a:normAutofit fontScale="90000"/>
          </a:bodyPr>
          <a:lstStyle/>
          <a:p>
            <a:r>
              <a:rPr lang="en-US"/>
              <a:t>Considerations</a:t>
            </a:r>
          </a:p>
        </p:txBody>
      </p:sp>
      <p:graphicFrame>
        <p:nvGraphicFramePr>
          <p:cNvPr id="8" name="Content Placeholder 7">
            <a:extLst>
              <a:ext uri="{FF2B5EF4-FFF2-40B4-BE49-F238E27FC236}">
                <a16:creationId xmlns:a16="http://schemas.microsoft.com/office/drawing/2014/main" id="{3453DE1D-C240-45A6-AF01-7EFC1D4A1223}"/>
              </a:ext>
            </a:extLst>
          </p:cNvPr>
          <p:cNvGraphicFramePr>
            <a:graphicFrameLocks noGrp="1"/>
          </p:cNvGraphicFramePr>
          <p:nvPr>
            <p:ph sz="quarter" idx="13"/>
          </p:nvPr>
        </p:nvGraphicFramePr>
        <p:xfrm>
          <a:off x="669572" y="1436145"/>
          <a:ext cx="11097333"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839557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9572" y="326411"/>
            <a:ext cx="11097332" cy="470856"/>
          </a:xfrm>
        </p:spPr>
        <p:txBody>
          <a:bodyPr wrap="square" anchor="t">
            <a:normAutofit fontScale="90000"/>
          </a:bodyPr>
          <a:lstStyle/>
          <a:p>
            <a:r>
              <a:rPr lang="en-US" dirty="0"/>
              <a:t>Permissions</a:t>
            </a:r>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nvPr>
        </p:nvGraphicFramePr>
        <p:xfrm>
          <a:off x="669572" y="1436145"/>
          <a:ext cx="11097333"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664464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9572" y="326411"/>
            <a:ext cx="11097332" cy="470856"/>
          </a:xfrm>
        </p:spPr>
        <p:txBody>
          <a:bodyPr wrap="square" anchor="t">
            <a:normAutofit fontScale="90000"/>
          </a:bodyPr>
          <a:lstStyle/>
          <a:p>
            <a:r>
              <a:rPr lang="en-US"/>
              <a:t>Permissions Scenario</a:t>
            </a:r>
          </a:p>
        </p:txBody>
      </p:sp>
      <p:graphicFrame>
        <p:nvGraphicFramePr>
          <p:cNvPr id="4" name="Content Placeholder 9">
            <a:extLst>
              <a:ext uri="{FF2B5EF4-FFF2-40B4-BE49-F238E27FC236}">
                <a16:creationId xmlns:a16="http://schemas.microsoft.com/office/drawing/2014/main" id="{5934174E-A579-4A38-A4D7-9D14CA2760A7}"/>
              </a:ext>
            </a:extLst>
          </p:cNvPr>
          <p:cNvGraphicFramePr>
            <a:graphicFrameLocks/>
          </p:cNvGraphicFramePr>
          <p:nvPr>
            <p:extLst>
              <p:ext uri="{D42A27DB-BD31-4B8C-83A1-F6EECF244321}">
                <p14:modId xmlns:p14="http://schemas.microsoft.com/office/powerpoint/2010/main" val="113459193"/>
              </p:ext>
            </p:extLst>
          </p:nvPr>
        </p:nvGraphicFramePr>
        <p:xfrm>
          <a:off x="669569" y="1592262"/>
          <a:ext cx="11097335" cy="4375329"/>
        </p:xfrm>
        <a:graphic>
          <a:graphicData uri="http://schemas.openxmlformats.org/drawingml/2006/table">
            <a:tbl>
              <a:tblPr firstRow="1" bandRow="1">
                <a:tableStyleId>{21E4AEA4-8DFA-4A89-87EB-49C32662AFE0}</a:tableStyleId>
              </a:tblPr>
              <a:tblGrid>
                <a:gridCol w="1958027">
                  <a:extLst>
                    <a:ext uri="{9D8B030D-6E8A-4147-A177-3AD203B41FA5}">
                      <a16:colId xmlns:a16="http://schemas.microsoft.com/office/drawing/2014/main" val="3014078992"/>
                    </a:ext>
                  </a:extLst>
                </a:gridCol>
                <a:gridCol w="1993059">
                  <a:extLst>
                    <a:ext uri="{9D8B030D-6E8A-4147-A177-3AD203B41FA5}">
                      <a16:colId xmlns:a16="http://schemas.microsoft.com/office/drawing/2014/main" val="2260853245"/>
                    </a:ext>
                  </a:extLst>
                </a:gridCol>
                <a:gridCol w="2251179">
                  <a:extLst>
                    <a:ext uri="{9D8B030D-6E8A-4147-A177-3AD203B41FA5}">
                      <a16:colId xmlns:a16="http://schemas.microsoft.com/office/drawing/2014/main" val="978094505"/>
                    </a:ext>
                  </a:extLst>
                </a:gridCol>
                <a:gridCol w="2225368">
                  <a:extLst>
                    <a:ext uri="{9D8B030D-6E8A-4147-A177-3AD203B41FA5}">
                      <a16:colId xmlns:a16="http://schemas.microsoft.com/office/drawing/2014/main" val="1576344138"/>
                    </a:ext>
                  </a:extLst>
                </a:gridCol>
                <a:gridCol w="2669702">
                  <a:extLst>
                    <a:ext uri="{9D8B030D-6E8A-4147-A177-3AD203B41FA5}">
                      <a16:colId xmlns:a16="http://schemas.microsoft.com/office/drawing/2014/main" val="940358529"/>
                    </a:ext>
                  </a:extLst>
                </a:gridCol>
              </a:tblGrid>
              <a:tr h="2183801">
                <a:tc>
                  <a:txBody>
                    <a:bodyPr/>
                    <a:lstStyle/>
                    <a:p>
                      <a:pPr algn="ctr"/>
                      <a:r>
                        <a:rPr lang="en-US" sz="2400" b="0" cap="all" spc="150" dirty="0">
                          <a:solidFill>
                            <a:schemeClr val="lt1"/>
                          </a:solidFill>
                        </a:rPr>
                        <a:t>Scenario</a:t>
                      </a:r>
                    </a:p>
                  </a:txBody>
                  <a:tcPr marL="159297" marR="159297" marT="159297" marB="159297" anchor="ctr"/>
                </a:tc>
                <a:tc>
                  <a:txBody>
                    <a:bodyPr/>
                    <a:lstStyle/>
                    <a:p>
                      <a:pPr algn="ctr"/>
                      <a:r>
                        <a:rPr lang="en-CA" sz="2400" b="0" cap="all" spc="150" dirty="0">
                          <a:solidFill>
                            <a:schemeClr val="lt1"/>
                          </a:solidFill>
                        </a:rPr>
                        <a:t>ALTER ANY COLUMN MASTER KEY</a:t>
                      </a:r>
                    </a:p>
                  </a:txBody>
                  <a:tcPr marL="159297" marR="159297" marT="159297" marB="159297" anchor="ctr"/>
                </a:tc>
                <a:tc>
                  <a:txBody>
                    <a:bodyPr/>
                    <a:lstStyle/>
                    <a:p>
                      <a:pPr algn="ctr"/>
                      <a:r>
                        <a:rPr lang="en-CA" sz="2400" b="0" cap="all" spc="150" dirty="0">
                          <a:solidFill>
                            <a:schemeClr val="lt1"/>
                          </a:solidFill>
                        </a:rPr>
                        <a:t>ALTER ANY COLUMN ENCRYPTION KEY</a:t>
                      </a:r>
                    </a:p>
                  </a:txBody>
                  <a:tcPr marL="159297" marR="159297" marT="159297" marB="159297" anchor="ctr"/>
                </a:tc>
                <a:tc>
                  <a:txBody>
                    <a:bodyPr/>
                    <a:lstStyle/>
                    <a:p>
                      <a:pPr algn="ctr"/>
                      <a:r>
                        <a:rPr lang="en-CA" sz="2400" b="0" cap="all" spc="150" dirty="0">
                          <a:solidFill>
                            <a:schemeClr val="lt1"/>
                          </a:solidFill>
                        </a:rPr>
                        <a:t>VIEW ANY COLUMN MASTER KEY DEFINITION</a:t>
                      </a:r>
                    </a:p>
                  </a:txBody>
                  <a:tcPr marL="159297" marR="159297" marT="159297" marB="159297" anchor="ctr"/>
                </a:tc>
                <a:tc>
                  <a:txBody>
                    <a:bodyPr/>
                    <a:lstStyle/>
                    <a:p>
                      <a:pPr algn="ctr"/>
                      <a:r>
                        <a:rPr lang="en-CA" sz="2400" b="0" cap="all" spc="150" dirty="0">
                          <a:solidFill>
                            <a:schemeClr val="lt1"/>
                          </a:solidFill>
                        </a:rPr>
                        <a:t>VIEW ANY COLUMN ENCRYPTION KEY DEFINITION</a:t>
                      </a:r>
                    </a:p>
                  </a:txBody>
                  <a:tcPr marL="159297" marR="159297" marT="159297" marB="159297" anchor="ctr"/>
                </a:tc>
                <a:extLst>
                  <a:ext uri="{0D108BD9-81ED-4DB2-BD59-A6C34878D82A}">
                    <a16:rowId xmlns:a16="http://schemas.microsoft.com/office/drawing/2014/main" val="667624469"/>
                  </a:ext>
                </a:extLst>
              </a:tr>
              <a:tr h="940330">
                <a:tc>
                  <a:txBody>
                    <a:bodyPr/>
                    <a:lstStyle/>
                    <a:p>
                      <a:r>
                        <a:rPr lang="en-CA" sz="2000" cap="none" spc="0" dirty="0">
                          <a:solidFill>
                            <a:schemeClr val="tx1"/>
                          </a:solidFill>
                        </a:rPr>
                        <a:t>Key management </a:t>
                      </a:r>
                    </a:p>
                  </a:txBody>
                  <a:tcPr marL="159297" marR="159297" marT="159297" marB="159297" anchor="ctr"/>
                </a:tc>
                <a:tc>
                  <a:txBody>
                    <a:bodyPr/>
                    <a:lstStyle/>
                    <a:p>
                      <a:pPr algn="ctr"/>
                      <a:r>
                        <a:rPr lang="en-US" sz="2000" cap="none" spc="0">
                          <a:solidFill>
                            <a:schemeClr val="tx1"/>
                          </a:solidFill>
                        </a:rPr>
                        <a:t>X</a:t>
                      </a:r>
                    </a:p>
                  </a:txBody>
                  <a:tcPr marL="159297" marR="159297" marT="159297" marB="159297" anchor="ctr"/>
                </a:tc>
                <a:tc>
                  <a:txBody>
                    <a:bodyPr/>
                    <a:lstStyle/>
                    <a:p>
                      <a:pPr algn="ctr"/>
                      <a:r>
                        <a:rPr lang="en-US" sz="2000" cap="none" spc="0">
                          <a:solidFill>
                            <a:schemeClr val="tx1"/>
                          </a:solidFill>
                        </a:rPr>
                        <a:t>X</a:t>
                      </a:r>
                    </a:p>
                  </a:txBody>
                  <a:tcPr marL="159297" marR="159297" marT="159297" marB="159297" anchor="ctr"/>
                </a:tc>
                <a:tc>
                  <a:txBody>
                    <a:bodyPr/>
                    <a:lstStyle/>
                    <a:p>
                      <a:pPr algn="ctr"/>
                      <a:r>
                        <a:rPr lang="en-US" sz="2000" cap="none" spc="0">
                          <a:solidFill>
                            <a:schemeClr val="tx1"/>
                          </a:solidFill>
                        </a:rPr>
                        <a:t>X</a:t>
                      </a:r>
                    </a:p>
                  </a:txBody>
                  <a:tcPr marL="159297" marR="159297" marT="159297" marB="159297" anchor="ctr"/>
                </a:tc>
                <a:tc>
                  <a:txBody>
                    <a:bodyPr/>
                    <a:lstStyle/>
                    <a:p>
                      <a:pPr algn="ctr"/>
                      <a:r>
                        <a:rPr lang="en-US" sz="2000" cap="none" spc="0">
                          <a:solidFill>
                            <a:schemeClr val="tx1"/>
                          </a:solidFill>
                        </a:rPr>
                        <a:t>X</a:t>
                      </a:r>
                    </a:p>
                  </a:txBody>
                  <a:tcPr marL="159297" marR="159297" marT="159297" marB="159297" anchor="ctr"/>
                </a:tc>
                <a:extLst>
                  <a:ext uri="{0D108BD9-81ED-4DB2-BD59-A6C34878D82A}">
                    <a16:rowId xmlns:a16="http://schemas.microsoft.com/office/drawing/2014/main" val="2510343250"/>
                  </a:ext>
                </a:extLst>
              </a:tr>
              <a:tr h="1251198">
                <a:tc>
                  <a:txBody>
                    <a:bodyPr/>
                    <a:lstStyle/>
                    <a:p>
                      <a:r>
                        <a:rPr lang="en-US" sz="2000" cap="none" spc="0" dirty="0">
                          <a:solidFill>
                            <a:schemeClr val="tx1"/>
                          </a:solidFill>
                        </a:rPr>
                        <a:t>Querying encrypted columns</a:t>
                      </a:r>
                    </a:p>
                  </a:txBody>
                  <a:tcPr marL="159297" marR="159297" marT="159297" marB="159297" anchor="ctr"/>
                </a:tc>
                <a:tc>
                  <a:txBody>
                    <a:bodyPr/>
                    <a:lstStyle/>
                    <a:p>
                      <a:pPr algn="ctr"/>
                      <a:endParaRPr lang="en-US" sz="2000" cap="none" spc="0">
                        <a:solidFill>
                          <a:schemeClr val="tx1"/>
                        </a:solidFill>
                      </a:endParaRPr>
                    </a:p>
                  </a:txBody>
                  <a:tcPr marL="159297" marR="159297" marT="159297" marB="159297" anchor="ctr"/>
                </a:tc>
                <a:tc>
                  <a:txBody>
                    <a:bodyPr/>
                    <a:lstStyle/>
                    <a:p>
                      <a:pPr algn="ctr"/>
                      <a:endParaRPr lang="en-US" sz="2000" cap="none" spc="0">
                        <a:solidFill>
                          <a:schemeClr val="tx1"/>
                        </a:solidFill>
                      </a:endParaRPr>
                    </a:p>
                  </a:txBody>
                  <a:tcPr marL="159297" marR="159297" marT="159297" marB="159297" anchor="ctr"/>
                </a:tc>
                <a:tc>
                  <a:txBody>
                    <a:bodyPr/>
                    <a:lstStyle/>
                    <a:p>
                      <a:pPr algn="ctr"/>
                      <a:r>
                        <a:rPr lang="en-US" sz="2000" cap="none" spc="0">
                          <a:solidFill>
                            <a:schemeClr val="tx1"/>
                          </a:solidFill>
                        </a:rPr>
                        <a:t>X</a:t>
                      </a:r>
                    </a:p>
                  </a:txBody>
                  <a:tcPr marL="159297" marR="159297" marT="159297" marB="159297" anchor="ctr"/>
                </a:tc>
                <a:tc>
                  <a:txBody>
                    <a:bodyPr/>
                    <a:lstStyle/>
                    <a:p>
                      <a:pPr algn="ctr"/>
                      <a:r>
                        <a:rPr lang="en-US" sz="2000" cap="none" spc="0" dirty="0">
                          <a:solidFill>
                            <a:schemeClr val="tx1"/>
                          </a:solidFill>
                        </a:rPr>
                        <a:t>X</a:t>
                      </a:r>
                    </a:p>
                  </a:txBody>
                  <a:tcPr marL="159297" marR="159297" marT="159297" marB="159297" anchor="ctr"/>
                </a:tc>
                <a:extLst>
                  <a:ext uri="{0D108BD9-81ED-4DB2-BD59-A6C34878D82A}">
                    <a16:rowId xmlns:a16="http://schemas.microsoft.com/office/drawing/2014/main" val="4153400750"/>
                  </a:ext>
                </a:extLst>
              </a:tr>
            </a:tbl>
          </a:graphicData>
        </a:graphic>
      </p:graphicFrame>
    </p:spTree>
    <p:extLst>
      <p:ext uri="{BB962C8B-B14F-4D97-AF65-F5344CB8AC3E}">
        <p14:creationId xmlns:p14="http://schemas.microsoft.com/office/powerpoint/2010/main" val="37547834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9572" y="326411"/>
            <a:ext cx="11097332" cy="470856"/>
          </a:xfrm>
        </p:spPr>
        <p:txBody>
          <a:bodyPr wrap="square" anchor="t">
            <a:normAutofit fontScale="90000"/>
          </a:bodyPr>
          <a:lstStyle/>
          <a:p>
            <a:r>
              <a:rPr lang="en-US"/>
              <a:t>Always Encrypted Best Practices</a:t>
            </a:r>
          </a:p>
        </p:txBody>
      </p:sp>
      <p:graphicFrame>
        <p:nvGraphicFramePr>
          <p:cNvPr id="16" name="Content Placeholder 2">
            <a:extLst>
              <a:ext uri="{FF2B5EF4-FFF2-40B4-BE49-F238E27FC236}">
                <a16:creationId xmlns:a16="http://schemas.microsoft.com/office/drawing/2014/main" id="{7876CBC9-41B1-40FB-BBCE-F272C00234DE}"/>
              </a:ext>
            </a:extLst>
          </p:cNvPr>
          <p:cNvGraphicFramePr>
            <a:graphicFrameLocks noGrp="1"/>
          </p:cNvGraphicFramePr>
          <p:nvPr>
            <p:ph sz="quarter" idx="13"/>
          </p:nvPr>
        </p:nvGraphicFramePr>
        <p:xfrm>
          <a:off x="669572" y="1436145"/>
          <a:ext cx="11097333"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072083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289230" y="220662"/>
            <a:ext cx="11889564" cy="917575"/>
          </a:xfrm>
        </p:spPr>
        <p:txBody>
          <a:bodyPr/>
          <a:lstStyle/>
          <a:p>
            <a:r>
              <a:rPr lang="en-US" dirty="0"/>
              <a:t>What is Encryption?</a:t>
            </a:r>
          </a:p>
        </p:txBody>
      </p:sp>
      <p:graphicFrame>
        <p:nvGraphicFramePr>
          <p:cNvPr id="3" name="Diagram 2">
            <a:extLst>
              <a:ext uri="{FF2B5EF4-FFF2-40B4-BE49-F238E27FC236}">
                <a16:creationId xmlns:a16="http://schemas.microsoft.com/office/drawing/2014/main" id="{DCC586F1-D51C-4003-94F7-AD259B1DF6CC}"/>
              </a:ext>
            </a:extLst>
          </p:cNvPr>
          <p:cNvGraphicFramePr/>
          <p:nvPr>
            <p:extLst>
              <p:ext uri="{D42A27DB-BD31-4B8C-83A1-F6EECF244321}">
                <p14:modId xmlns:p14="http://schemas.microsoft.com/office/powerpoint/2010/main" val="2571815499"/>
              </p:ext>
            </p:extLst>
          </p:nvPr>
        </p:nvGraphicFramePr>
        <p:xfrm>
          <a:off x="1531937" y="1668462"/>
          <a:ext cx="9372600" cy="42196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5959313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289230" y="220662"/>
            <a:ext cx="11889564" cy="917575"/>
          </a:xfrm>
        </p:spPr>
        <p:txBody>
          <a:bodyPr/>
          <a:lstStyle/>
          <a:p>
            <a:r>
              <a:rPr lang="en-US" dirty="0"/>
              <a:t>Always Encrypted</a:t>
            </a:r>
          </a:p>
        </p:txBody>
      </p:sp>
      <p:grpSp>
        <p:nvGrpSpPr>
          <p:cNvPr id="7" name="Group 6">
            <a:extLst>
              <a:ext uri="{FF2B5EF4-FFF2-40B4-BE49-F238E27FC236}">
                <a16:creationId xmlns:a16="http://schemas.microsoft.com/office/drawing/2014/main" id="{309F26B9-E4B5-46F4-9801-676139B5EC07}"/>
              </a:ext>
            </a:extLst>
          </p:cNvPr>
          <p:cNvGrpSpPr/>
          <p:nvPr/>
        </p:nvGrpSpPr>
        <p:grpSpPr>
          <a:xfrm>
            <a:off x="823812" y="1592262"/>
            <a:ext cx="10820400" cy="4572000"/>
            <a:chOff x="960437" y="1592262"/>
            <a:chExt cx="10820400" cy="4572000"/>
          </a:xfrm>
        </p:grpSpPr>
        <p:sp>
          <p:nvSpPr>
            <p:cNvPr id="5" name="Rectangle: Rounded Corners 4">
              <a:extLst>
                <a:ext uri="{FF2B5EF4-FFF2-40B4-BE49-F238E27FC236}">
                  <a16:creationId xmlns:a16="http://schemas.microsoft.com/office/drawing/2014/main" id="{43302ADB-875F-4364-93B2-7DFC074BD52C}"/>
                </a:ext>
              </a:extLst>
            </p:cNvPr>
            <p:cNvSpPr/>
            <p:nvPr/>
          </p:nvSpPr>
          <p:spPr bwMode="auto">
            <a:xfrm>
              <a:off x="960437" y="1592262"/>
              <a:ext cx="10820400" cy="4572000"/>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CD05ECAD-C646-4478-BEF3-5A01D5436AC0}"/>
                </a:ext>
              </a:extLst>
            </p:cNvPr>
            <p:cNvSpPr txBox="1"/>
            <p:nvPr/>
          </p:nvSpPr>
          <p:spPr>
            <a:xfrm>
              <a:off x="1859062" y="3065732"/>
              <a:ext cx="9372600" cy="1625060"/>
            </a:xfrm>
            <a:prstGeom prst="rect">
              <a:avLst/>
            </a:prstGeom>
            <a:noFill/>
          </p:spPr>
          <p:txBody>
            <a:bodyPr wrap="square" lIns="182880" tIns="146304" rIns="182880" bIns="146304" rtlCol="0">
              <a:spAutoFit/>
            </a:bodyPr>
            <a:lstStyle/>
            <a:p>
              <a:pPr algn="ctr">
                <a:lnSpc>
                  <a:spcPct val="90000"/>
                </a:lnSpc>
                <a:spcAft>
                  <a:spcPts val="600"/>
                </a:spcAft>
              </a:pPr>
              <a:r>
                <a:rPr lang="en-US" sz="9600" dirty="0">
                  <a:solidFill>
                    <a:schemeClr val="bg1"/>
                  </a:solidFill>
                </a:rPr>
                <a:t>Questions?</a:t>
              </a:r>
            </a:p>
          </p:txBody>
        </p:sp>
      </p:grpSp>
    </p:spTree>
    <p:extLst>
      <p:ext uri="{BB962C8B-B14F-4D97-AF65-F5344CB8AC3E}">
        <p14:creationId xmlns:p14="http://schemas.microsoft.com/office/powerpoint/2010/main" val="364373632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289230" y="220662"/>
            <a:ext cx="11889564" cy="917575"/>
          </a:xfrm>
        </p:spPr>
        <p:txBody>
          <a:bodyPr/>
          <a:lstStyle/>
          <a:p>
            <a:r>
              <a:rPr lang="en-US"/>
              <a:t>Always Encrypted</a:t>
            </a:r>
            <a:endParaRPr lang="en-US" dirty="0"/>
          </a:p>
        </p:txBody>
      </p:sp>
      <p:graphicFrame>
        <p:nvGraphicFramePr>
          <p:cNvPr id="3" name="Diagram 2">
            <a:extLst>
              <a:ext uri="{FF2B5EF4-FFF2-40B4-BE49-F238E27FC236}">
                <a16:creationId xmlns:a16="http://schemas.microsoft.com/office/drawing/2014/main" id="{1E75F4A2-A885-4280-AB7A-7E54708A6695}"/>
              </a:ext>
            </a:extLst>
          </p:cNvPr>
          <p:cNvGraphicFramePr/>
          <p:nvPr>
            <p:extLst>
              <p:ext uri="{D42A27DB-BD31-4B8C-83A1-F6EECF244321}">
                <p14:modId xmlns:p14="http://schemas.microsoft.com/office/powerpoint/2010/main" val="1927110771"/>
              </p:ext>
            </p:extLst>
          </p:nvPr>
        </p:nvGraphicFramePr>
        <p:xfrm>
          <a:off x="465137" y="1516062"/>
          <a:ext cx="11506200" cy="46043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5530288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289230" y="220662"/>
            <a:ext cx="11889564" cy="917575"/>
          </a:xfrm>
        </p:spPr>
        <p:txBody>
          <a:bodyPr/>
          <a:lstStyle/>
          <a:p>
            <a:r>
              <a:rPr lang="en-US" dirty="0"/>
              <a:t>Always Encrypted</a:t>
            </a:r>
          </a:p>
        </p:txBody>
      </p:sp>
      <p:graphicFrame>
        <p:nvGraphicFramePr>
          <p:cNvPr id="3" name="Diagram 2">
            <a:extLst>
              <a:ext uri="{FF2B5EF4-FFF2-40B4-BE49-F238E27FC236}">
                <a16:creationId xmlns:a16="http://schemas.microsoft.com/office/drawing/2014/main" id="{EE078616-86C3-4105-B732-7004E76B5C76}"/>
              </a:ext>
            </a:extLst>
          </p:cNvPr>
          <p:cNvGraphicFramePr/>
          <p:nvPr>
            <p:extLst>
              <p:ext uri="{D42A27DB-BD31-4B8C-83A1-F6EECF244321}">
                <p14:modId xmlns:p14="http://schemas.microsoft.com/office/powerpoint/2010/main" val="737926732"/>
              </p:ext>
            </p:extLst>
          </p:nvPr>
        </p:nvGraphicFramePr>
        <p:xfrm>
          <a:off x="427037" y="1516062"/>
          <a:ext cx="11353800" cy="42196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7833330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fontScale="90000"/>
          </a:bodyPr>
          <a:lstStyle/>
          <a:p>
            <a:r>
              <a:rPr lang="en-US" dirty="0"/>
              <a:t>Typical Scenarios</a:t>
            </a:r>
          </a:p>
        </p:txBody>
      </p:sp>
      <p:graphicFrame>
        <p:nvGraphicFramePr>
          <p:cNvPr id="4" name="Content Placeholder 3">
            <a:extLst>
              <a:ext uri="{FF2B5EF4-FFF2-40B4-BE49-F238E27FC236}">
                <a16:creationId xmlns:a16="http://schemas.microsoft.com/office/drawing/2014/main" id="{97BC0F9A-1026-4113-98C8-03B1948AAF15}"/>
              </a:ext>
            </a:extLst>
          </p:cNvPr>
          <p:cNvGraphicFramePr>
            <a:graphicFrameLocks noGrp="1"/>
          </p:cNvGraphicFramePr>
          <p:nvPr>
            <p:ph sz="quarter" idx="13"/>
          </p:nvPr>
        </p:nvGraphicFramePr>
        <p:xfrm>
          <a:off x="669572" y="1436144"/>
          <a:ext cx="11097332"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366524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ts</a:t>
            </a:r>
            <a:endParaRPr lang="en-US" sz="3999" dirty="0"/>
          </a:p>
        </p:txBody>
      </p:sp>
      <p:graphicFrame>
        <p:nvGraphicFramePr>
          <p:cNvPr id="9" name="Content Placeholder 8">
            <a:extLst>
              <a:ext uri="{FF2B5EF4-FFF2-40B4-BE49-F238E27FC236}">
                <a16:creationId xmlns:a16="http://schemas.microsoft.com/office/drawing/2014/main" id="{1576B546-E8B0-434D-AF25-423F98135999}"/>
              </a:ext>
            </a:extLst>
          </p:cNvPr>
          <p:cNvGraphicFramePr>
            <a:graphicFrameLocks noGrp="1"/>
          </p:cNvGraphicFramePr>
          <p:nvPr>
            <p:ph sz="quarter" idx="13"/>
          </p:nvPr>
        </p:nvGraphicFramePr>
        <p:xfrm>
          <a:off x="669572" y="2875526"/>
          <a:ext cx="11097333" cy="34762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Content Placeholder 6">
            <a:extLst>
              <a:ext uri="{FF2B5EF4-FFF2-40B4-BE49-F238E27FC236}">
                <a16:creationId xmlns:a16="http://schemas.microsoft.com/office/drawing/2014/main" id="{17F81A71-69B5-4907-9E9D-782AF28A6501}"/>
              </a:ext>
            </a:extLst>
          </p:cNvPr>
          <p:cNvGraphicFramePr>
            <a:graphicFrameLocks/>
          </p:cNvGraphicFramePr>
          <p:nvPr/>
        </p:nvGraphicFramePr>
        <p:xfrm>
          <a:off x="669572" y="1436145"/>
          <a:ext cx="11097332" cy="128394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8874509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fontScale="90000"/>
          </a:bodyPr>
          <a:lstStyle/>
          <a:p>
            <a:r>
              <a:rPr lang="en-US"/>
              <a:t>Capabilities and Functions</a:t>
            </a:r>
          </a:p>
        </p:txBody>
      </p:sp>
      <p:graphicFrame>
        <p:nvGraphicFramePr>
          <p:cNvPr id="5" name="Content Placeholder 4">
            <a:extLst>
              <a:ext uri="{FF2B5EF4-FFF2-40B4-BE49-F238E27FC236}">
                <a16:creationId xmlns:a16="http://schemas.microsoft.com/office/drawing/2014/main" id="{B0ECC4BE-BF1A-4E35-812E-726A5C47EEAF}"/>
              </a:ext>
            </a:extLst>
          </p:cNvPr>
          <p:cNvGraphicFramePr>
            <a:graphicFrameLocks noGrp="1"/>
          </p:cNvGraphicFramePr>
          <p:nvPr>
            <p:ph sz="quarter" idx="13"/>
          </p:nvPr>
        </p:nvGraphicFramePr>
        <p:xfrm>
          <a:off x="669572" y="1436144"/>
          <a:ext cx="11097332"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538345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lways Encrypted?</a:t>
            </a:r>
          </a:p>
        </p:txBody>
      </p:sp>
      <p:graphicFrame>
        <p:nvGraphicFramePr>
          <p:cNvPr id="15" name="Content Placeholder 14">
            <a:extLst>
              <a:ext uri="{FF2B5EF4-FFF2-40B4-BE49-F238E27FC236}">
                <a16:creationId xmlns:a16="http://schemas.microsoft.com/office/drawing/2014/main" id="{C0ED1C58-9A13-47FA-90C8-0A5C8C1840C7}"/>
              </a:ext>
            </a:extLst>
          </p:cNvPr>
          <p:cNvGraphicFramePr>
            <a:graphicFrameLocks noGrp="1"/>
          </p:cNvGraphicFramePr>
          <p:nvPr>
            <p:ph sz="quarter" idx="13"/>
          </p:nvPr>
        </p:nvGraphicFramePr>
        <p:xfrm>
          <a:off x="669572" y="1436144"/>
          <a:ext cx="5561107" cy="491559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8" name="Rectangle 74">
            <a:extLst>
              <a:ext uri="{FF2B5EF4-FFF2-40B4-BE49-F238E27FC236}">
                <a16:creationId xmlns:a16="http://schemas.microsoft.com/office/drawing/2014/main" id="{BD8890BF-6A80-4901-94B0-3B72FD620DBD}"/>
              </a:ext>
            </a:extLst>
          </p:cNvPr>
          <p:cNvSpPr/>
          <p:nvPr>
            <p:custDataLst>
              <p:tags r:id="rId1"/>
            </p:custDataLst>
          </p:nvPr>
        </p:nvSpPr>
        <p:spPr>
          <a:xfrm>
            <a:off x="7301121" y="4792479"/>
            <a:ext cx="392907" cy="54783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54"/>
            <a:endParaRPr lang="en-US" sz="1764" dirty="0">
              <a:solidFill>
                <a:srgbClr val="FFFFFF"/>
              </a:solidFill>
            </a:endParaRPr>
          </a:p>
        </p:txBody>
      </p:sp>
      <p:sp>
        <p:nvSpPr>
          <p:cNvPr id="49" name="Rectangle 74">
            <a:extLst>
              <a:ext uri="{FF2B5EF4-FFF2-40B4-BE49-F238E27FC236}">
                <a16:creationId xmlns:a16="http://schemas.microsoft.com/office/drawing/2014/main" id="{1ACCC861-F6D9-46C1-98D5-BD9DCB9D5924}"/>
              </a:ext>
            </a:extLst>
          </p:cNvPr>
          <p:cNvSpPr/>
          <p:nvPr>
            <p:custDataLst>
              <p:tags r:id="rId2"/>
            </p:custDataLst>
          </p:nvPr>
        </p:nvSpPr>
        <p:spPr>
          <a:xfrm>
            <a:off x="11463330" y="4792479"/>
            <a:ext cx="392907" cy="547836"/>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54"/>
            <a:endParaRPr lang="en-US" sz="1764" dirty="0">
              <a:solidFill>
                <a:srgbClr val="FFFFFF"/>
              </a:solidFill>
            </a:endParaRPr>
          </a:p>
        </p:txBody>
      </p:sp>
      <p:pic>
        <p:nvPicPr>
          <p:cNvPr id="4" name="Picture 3">
            <a:extLst>
              <a:ext uri="{FF2B5EF4-FFF2-40B4-BE49-F238E27FC236}">
                <a16:creationId xmlns:a16="http://schemas.microsoft.com/office/drawing/2014/main" id="{E74D4B1C-296B-4098-9864-A37D49076BF1}"/>
              </a:ext>
            </a:extLst>
          </p:cNvPr>
          <p:cNvPicPr>
            <a:picLocks noChangeAspect="1"/>
          </p:cNvPicPr>
          <p:nvPr/>
        </p:nvPicPr>
        <p:blipFill>
          <a:blip r:embed="rId10"/>
          <a:stretch>
            <a:fillRect/>
          </a:stretch>
        </p:blipFill>
        <p:spPr>
          <a:xfrm>
            <a:off x="6460077" y="1438813"/>
            <a:ext cx="5473160" cy="504091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1212594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heme/theme1.xml><?xml version="1.0" encoding="utf-8"?>
<a:theme xmlns:a="http://schemas.openxmlformats.org/drawingml/2006/main" name="CORE TEMPLATE">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2.xml><?xml version="1.0" encoding="utf-8"?>
<a:theme xmlns:a="http://schemas.openxmlformats.org/drawingml/2006/main" name="DARK BLUE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E3121A06-9DAB-4276-A390-A5096A594C5E}"/>
    </a:ext>
  </a:extLst>
</a:theme>
</file>

<file path=ppt/theme/theme3.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ppt/theme/theme4.xml><?xml version="1.0" encoding="utf-8"?>
<a:theme xmlns:a="http://schemas.openxmlformats.org/drawingml/2006/main" name="1_COR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5.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955019D4B70474EB61829C05E053846" ma:contentTypeVersion="4" ma:contentTypeDescription="Create a new document." ma:contentTypeScope="" ma:versionID="4ff56c72fb55f50d5c8738918199deb7">
  <xsd:schema xmlns:xsd="http://www.w3.org/2001/XMLSchema" xmlns:xs="http://www.w3.org/2001/XMLSchema" xmlns:p="http://schemas.microsoft.com/office/2006/metadata/properties" xmlns:ns2="230e9df3-be65-4c73-a93b-d1236ebd677e" xmlns:ns3="7ed30aa2-a9a3-48dd-93de-4f2bc034e61b" targetNamespace="http://schemas.microsoft.com/office/2006/metadata/properties" ma:root="true" ma:fieldsID="69b0d54d1c2dc846cef99b56d8d17402" ns2:_="" ns3:_="">
    <xsd:import namespace="230e9df3-be65-4c73-a93b-d1236ebd677e"/>
    <xsd:import namespace="7ed30aa2-a9a3-48dd-93de-4f2bc034e61b"/>
    <xsd:element name="properties">
      <xsd:complexType>
        <xsd:sequence>
          <xsd:element name="documentManagement">
            <xsd:complexType>
              <xsd:all>
                <xsd:element ref="ns2:_dlc_DocId" minOccurs="0"/>
                <xsd:element ref="ns2:_dlc_DocIdUrl" minOccurs="0"/>
                <xsd:element ref="ns2:_dlc_DocIdPersistId" minOccurs="0"/>
                <xsd:element ref="ns3:SharedWithUsers" minOccurs="0"/>
                <xsd:element ref="ns3:SharedWithDetails" minOccurs="0"/>
                <xsd:element ref="ns3:LastSharedByUser" minOccurs="0"/>
                <xsd:element ref="ns3: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7ed30aa2-a9a3-48dd-93de-4f2bc034e61b"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SharedWithUsers xmlns="7ed30aa2-a9a3-48dd-93de-4f2bc034e61b">
      <UserInfo>
        <DisplayName/>
        <AccountId xsi:nil="true"/>
        <AccountType/>
      </UserInfo>
    </SharedWithUsers>
    <_dlc_DocId xmlns="230e9df3-be65-4c73-a93b-d1236ebd677e">CPS089-2103211598-1102</_dlc_DocId>
    <_dlc_DocIdUrl xmlns="230e9df3-be65-4c73-a93b-d1236ebd677e">
      <Url>https://microsoft.sharepoint.com/teams/CampusProjectSites089/hahzsakosd/ipdev/_layouts/15/DocIdRedir.aspx?ID=CPS089-2103211598-1102</Url>
      <Description>CPS089-2103211598-1102</Description>
    </_dlc_DocIdUrl>
  </documentManagement>
</p:properties>
</file>

<file path=customXml/itemProps1.xml><?xml version="1.0" encoding="utf-8"?>
<ds:datastoreItem xmlns:ds="http://schemas.openxmlformats.org/officeDocument/2006/customXml" ds:itemID="{EF90D4CD-A5E5-4310-B06F-D8B4505D935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7ed30aa2-a9a3-48dd-93de-4f2bc034e6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1A9C70AF-A8CE-44C7-BAAE-67706C471353}">
  <ds:schemaRefs>
    <ds:schemaRef ds:uri="http://schemas.microsoft.com/sharepoint/events"/>
  </ds:schemaRefs>
</ds:datastoreItem>
</file>

<file path=customXml/itemProps4.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7ed30aa2-a9a3-48dd-93de-4f2bc034e61b"/>
    <ds:schemaRef ds:uri="230e9df3-be65-4c73-a93b-d1236ebd677e"/>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4</TotalTime>
  <Words>7523</Words>
  <Application>Microsoft Office PowerPoint</Application>
  <PresentationFormat>Custom</PresentationFormat>
  <Paragraphs>572</Paragraphs>
  <Slides>31</Slides>
  <Notes>25</Notes>
  <HiddenSlides>0</HiddenSlides>
  <MMClips>0</MMClips>
  <ScaleCrop>false</ScaleCrop>
  <HeadingPairs>
    <vt:vector size="6" baseType="variant">
      <vt:variant>
        <vt:lpstr>Fonts Used</vt:lpstr>
      </vt:variant>
      <vt:variant>
        <vt:i4>13</vt:i4>
      </vt:variant>
      <vt:variant>
        <vt:lpstr>Theme</vt:lpstr>
      </vt:variant>
      <vt:variant>
        <vt:i4>5</vt:i4>
      </vt:variant>
      <vt:variant>
        <vt:lpstr>Slide Titles</vt:lpstr>
      </vt:variant>
      <vt:variant>
        <vt:i4>31</vt:i4>
      </vt:variant>
    </vt:vector>
  </HeadingPairs>
  <TitlesOfParts>
    <vt:vector size="49" baseType="lpstr">
      <vt:lpstr>Arial</vt:lpstr>
      <vt:lpstr>Calibri</vt:lpstr>
      <vt:lpstr>Calibri Light</vt:lpstr>
      <vt:lpstr>Century Gothic</vt:lpstr>
      <vt:lpstr>Consolas</vt:lpstr>
      <vt:lpstr>Segoe</vt:lpstr>
      <vt:lpstr>Segoe Light</vt:lpstr>
      <vt:lpstr>Segoe Pro SemiLight</vt:lpstr>
      <vt:lpstr>Segoe UI</vt:lpstr>
      <vt:lpstr>Segoe UI Light</vt:lpstr>
      <vt:lpstr>Segoe UI Semibold</vt:lpstr>
      <vt:lpstr>Wingdings</vt:lpstr>
      <vt:lpstr>Wingdings 3</vt:lpstr>
      <vt:lpstr>CORE TEMPLATE</vt:lpstr>
      <vt:lpstr>DARK BLUE TEMPLATE</vt:lpstr>
      <vt:lpstr>WHITE TEMPLATE</vt:lpstr>
      <vt:lpstr>1_CORE TEMPLATE</vt:lpstr>
      <vt:lpstr>1_PASS 2013_SpeakerTemplate_Final</vt:lpstr>
      <vt:lpstr>Always Encrypted  John Deardurff  </vt:lpstr>
      <vt:lpstr>PowerPoint Presentation</vt:lpstr>
      <vt:lpstr>What is Encryption?</vt:lpstr>
      <vt:lpstr>Always Encrypted</vt:lpstr>
      <vt:lpstr>Always Encrypted</vt:lpstr>
      <vt:lpstr>Typical Scenarios</vt:lpstr>
      <vt:lpstr>Benefits</vt:lpstr>
      <vt:lpstr>Capabilities and Functions</vt:lpstr>
      <vt:lpstr>What is Always Encrypted?</vt:lpstr>
      <vt:lpstr>How does Always Encrypted work?</vt:lpstr>
      <vt:lpstr>Column Keys</vt:lpstr>
      <vt:lpstr>Key provisioning</vt:lpstr>
      <vt:lpstr>Encryption Types</vt:lpstr>
      <vt:lpstr>Encryption Methodologies </vt:lpstr>
      <vt:lpstr>Data Encryption Algorithm</vt:lpstr>
      <vt:lpstr>Always Encrypted with Secure Enclaves</vt:lpstr>
      <vt:lpstr>Always Encrypted</vt:lpstr>
      <vt:lpstr>Always Encrypted Catalog Views</vt:lpstr>
      <vt:lpstr>Find Always Encrypted Columns</vt:lpstr>
      <vt:lpstr>Column Encryption Setting = Enabled</vt:lpstr>
      <vt:lpstr>For the developers</vt:lpstr>
      <vt:lpstr>Data Migration Scenarios</vt:lpstr>
      <vt:lpstr>ALLOW_ENCRYPTED_VALUE_MODIFICATIONS</vt:lpstr>
      <vt:lpstr>Feature Details</vt:lpstr>
      <vt:lpstr>Limitations</vt:lpstr>
      <vt:lpstr>Considerations</vt:lpstr>
      <vt:lpstr>Permissions</vt:lpstr>
      <vt:lpstr>Permissions Scenario</vt:lpstr>
      <vt:lpstr>Always Encrypted Best Practices</vt:lpstr>
      <vt:lpstr>Always Encrypte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ways Encrypted  John Deardurff  </dc:title>
  <dc:creator>John Deardurff</dc:creator>
  <cp:lastModifiedBy>John Deardurff</cp:lastModifiedBy>
  <cp:revision>3</cp:revision>
  <dcterms:created xsi:type="dcterms:W3CDTF">2020-05-19T23:20:35Z</dcterms:created>
  <dcterms:modified xsi:type="dcterms:W3CDTF">2021-08-25T17:1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0-05-19T23:22:51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9efb9f63-c381-4e54-bbc7-71cdc29c369e</vt:lpwstr>
  </property>
  <property fmtid="{D5CDD505-2E9C-101B-9397-08002B2CF9AE}" pid="8" name="MSIP_Label_f42aa342-8706-4288-bd11-ebb85995028c_ContentBits">
    <vt:lpwstr>0</vt:lpwstr>
  </property>
</Properties>
</file>